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heme/themeOverride3.xml" ContentType="application/vnd.openxmlformats-officedocument.themeOverride+xml"/>
  <Override PartName="/ppt/tags/tag26.xml" ContentType="application/vnd.openxmlformats-officedocument.presentationml.tags+xml"/>
  <Override PartName="/ppt/theme/themeOverride4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5.xml" ContentType="application/vnd.openxmlformats-officedocument.themeOverride+xml"/>
  <Override PartName="/ppt/tags/tag55.xml" ContentType="application/vnd.openxmlformats-officedocument.presentationml.tags+xml"/>
  <Override PartName="/ppt/theme/themeOverride6.xml" ContentType="application/vnd.openxmlformats-officedocument.themeOverride+xml"/>
  <Override PartName="/ppt/tags/tag56.xml" ContentType="application/vnd.openxmlformats-officedocument.presentationml.tags+xml"/>
  <Override PartName="/ppt/theme/themeOverride7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2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Override8.xml" ContentType="application/vnd.openxmlformats-officedocument.themeOverr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Override9.xml" ContentType="application/vnd.openxmlformats-officedocument.themeOverride+xml"/>
  <Override PartName="/ppt/tags/tag110.xml" ContentType="application/vnd.openxmlformats-officedocument.presentationml.tags+xml"/>
  <Override PartName="/ppt/theme/themeOverride10.xml" ContentType="application/vnd.openxmlformats-officedocument.themeOverride+xml"/>
  <Override PartName="/ppt/tags/tag111.xml" ContentType="application/vnd.openxmlformats-officedocument.presentationml.tags+xml"/>
  <Override PartName="/ppt/theme/themeOverride11.xml" ContentType="application/vnd.openxmlformats-officedocument.themeOverr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12.xml" ContentType="application/vnd.openxmlformats-officedocument.themeOverride+xml"/>
  <Override PartName="/ppt/tags/tag138.xml" ContentType="application/vnd.openxmlformats-officedocument.presentationml.tags+xml"/>
  <Override PartName="/ppt/theme/themeOverride13.xml" ContentType="application/vnd.openxmlformats-officedocument.themeOverride+xml"/>
  <Override PartName="/ppt/tags/tag139.xml" ContentType="application/vnd.openxmlformats-officedocument.presentationml.tags+xml"/>
  <Override PartName="/ppt/theme/themeOverride14.xml" ContentType="application/vnd.openxmlformats-officedocument.themeOverr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heme/themeOverride15.xml" ContentType="application/vnd.openxmlformats-officedocument.themeOverride+xml"/>
  <Override PartName="/ppt/tags/tag181.xml" ContentType="application/vnd.openxmlformats-officedocument.presentationml.tags+xml"/>
  <Override PartName="/ppt/theme/themeOverride16.xml" ContentType="application/vnd.openxmlformats-officedocument.themeOverride+xml"/>
  <Override PartName="/ppt/tags/tag182.xml" ContentType="application/vnd.openxmlformats-officedocument.presentationml.tags+xml"/>
  <Override PartName="/ppt/theme/themeOverride17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heme/themeOverride18.xml" ContentType="application/vnd.openxmlformats-officedocument.themeOverride+xml"/>
  <Override PartName="/ppt/tags/tag208.xml" ContentType="application/vnd.openxmlformats-officedocument.presentationml.tags+xml"/>
  <Override PartName="/ppt/theme/themeOverride19.xml" ContentType="application/vnd.openxmlformats-officedocument.themeOverride+xml"/>
  <Override PartName="/ppt/tags/tag209.xml" ContentType="application/vnd.openxmlformats-officedocument.presentationml.tags+xml"/>
  <Override PartName="/ppt/theme/themeOverride20.xml" ContentType="application/vnd.openxmlformats-officedocument.themeOverr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heme/themeOverride21.xml" ContentType="application/vnd.openxmlformats-officedocument.themeOverr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heme/themeOverride22.xml" ContentType="application/vnd.openxmlformats-officedocument.themeOverride+xml"/>
  <Override PartName="/ppt/tags/tag260.xml" ContentType="application/vnd.openxmlformats-officedocument.presentationml.tags+xml"/>
  <Override PartName="/ppt/theme/themeOverride23.xml" ContentType="application/vnd.openxmlformats-officedocument.themeOverride+xml"/>
  <Override PartName="/ppt/tags/tag261.xml" ContentType="application/vnd.openxmlformats-officedocument.presentationml.tags+xml"/>
  <Override PartName="/ppt/theme/themeOverride24.xml" ContentType="application/vnd.openxmlformats-officedocument.themeOverrid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heme/themeOverride25.xml" ContentType="application/vnd.openxmlformats-officedocument.themeOverride+xml"/>
  <Override PartName="/ppt/tags/tag287.xml" ContentType="application/vnd.openxmlformats-officedocument.presentationml.tags+xml"/>
  <Override PartName="/ppt/theme/themeOverride26.xml" ContentType="application/vnd.openxmlformats-officedocument.themeOverride+xml"/>
  <Override PartName="/ppt/tags/tag288.xml" ContentType="application/vnd.openxmlformats-officedocument.presentationml.tags+xml"/>
  <Override PartName="/ppt/theme/themeOverride27.xml" ContentType="application/vnd.openxmlformats-officedocument.themeOverr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heme/theme3.xml" ContentType="application/vnd.openxmlformats-officedocument.them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theme/theme4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heme/themeOverride28.xml" ContentType="application/vnd.openxmlformats-officedocument.themeOverride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heme/themeOverride29.xml" ContentType="application/vnd.openxmlformats-officedocument.themeOverride+xml"/>
  <Override PartName="/ppt/tags/tag426.xml" ContentType="application/vnd.openxmlformats-officedocument.presentationml.tags+xml"/>
  <Override PartName="/ppt/theme/themeOverride30.xml" ContentType="application/vnd.openxmlformats-officedocument.themeOverride+xml"/>
  <Override PartName="/ppt/tags/tag427.xml" ContentType="application/vnd.openxmlformats-officedocument.presentationml.tags+xml"/>
  <Override PartName="/ppt/theme/themeOverride31.xml" ContentType="application/vnd.openxmlformats-officedocument.themeOverr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heme/themeOverride32.xml" ContentType="application/vnd.openxmlformats-officedocument.themeOverride+xml"/>
  <Override PartName="/ppt/tags/tag456.xml" ContentType="application/vnd.openxmlformats-officedocument.presentationml.tags+xml"/>
  <Override PartName="/ppt/theme/themeOverride33.xml" ContentType="application/vnd.openxmlformats-officedocument.themeOverride+xml"/>
  <Override PartName="/ppt/tags/tag457.xml" ContentType="application/vnd.openxmlformats-officedocument.presentationml.tags+xml"/>
  <Override PartName="/ppt/theme/themeOverride34.xml" ContentType="application/vnd.openxmlformats-officedocument.themeOverride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5.xml" ContentType="application/vnd.openxmlformats-officedocument.theme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heme/themeOverride35.xml" ContentType="application/vnd.openxmlformats-officedocument.themeOverride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heme/themeOverride36.xml" ContentType="application/vnd.openxmlformats-officedocument.themeOverride+xml"/>
  <Override PartName="/ppt/tags/tag511.xml" ContentType="application/vnd.openxmlformats-officedocument.presentationml.tags+xml"/>
  <Override PartName="/ppt/theme/themeOverride37.xml" ContentType="application/vnd.openxmlformats-officedocument.themeOverride+xml"/>
  <Override PartName="/ppt/tags/tag512.xml" ContentType="application/vnd.openxmlformats-officedocument.presentationml.tags+xml"/>
  <Override PartName="/ppt/theme/themeOverride38.xml" ContentType="application/vnd.openxmlformats-officedocument.themeOverride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heme/themeOverride39.xml" ContentType="application/vnd.openxmlformats-officedocument.themeOverride+xml"/>
  <Override PartName="/ppt/tags/tag541.xml" ContentType="application/vnd.openxmlformats-officedocument.presentationml.tags+xml"/>
  <Override PartName="/ppt/theme/themeOverride40.xml" ContentType="application/vnd.openxmlformats-officedocument.themeOverride+xml"/>
  <Override PartName="/ppt/tags/tag542.xml" ContentType="application/vnd.openxmlformats-officedocument.presentationml.tags+xml"/>
  <Override PartName="/ppt/theme/themeOverride41.xml" ContentType="application/vnd.openxmlformats-officedocument.themeOverride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theme/theme6.xml" ContentType="application/vnd.openxmlformats-officedocument.theme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heme/themeOverride42.xml" ContentType="application/vnd.openxmlformats-officedocument.themeOverride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heme/themeOverride43.xml" ContentType="application/vnd.openxmlformats-officedocument.themeOverride+xml"/>
  <Override PartName="/ppt/tags/tag596.xml" ContentType="application/vnd.openxmlformats-officedocument.presentationml.tags+xml"/>
  <Override PartName="/ppt/theme/themeOverride44.xml" ContentType="application/vnd.openxmlformats-officedocument.themeOverride+xml"/>
  <Override PartName="/ppt/tags/tag597.xml" ContentType="application/vnd.openxmlformats-officedocument.presentationml.tags+xml"/>
  <Override PartName="/ppt/theme/themeOverride45.xml" ContentType="application/vnd.openxmlformats-officedocument.themeOverride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heme/themeOverride46.xml" ContentType="application/vnd.openxmlformats-officedocument.themeOverride+xml"/>
  <Override PartName="/ppt/tags/tag626.xml" ContentType="application/vnd.openxmlformats-officedocument.presentationml.tags+xml"/>
  <Override PartName="/ppt/theme/themeOverride47.xml" ContentType="application/vnd.openxmlformats-officedocument.themeOverride+xml"/>
  <Override PartName="/ppt/tags/tag627.xml" ContentType="application/vnd.openxmlformats-officedocument.presentationml.tags+xml"/>
  <Override PartName="/ppt/theme/themeOverride48.xml" ContentType="application/vnd.openxmlformats-officedocument.themeOverride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theme/theme7.xml" ContentType="application/vnd.openxmlformats-officedocument.theme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heme/themeOverride49.xml" ContentType="application/vnd.openxmlformats-officedocument.themeOverride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heme/themeOverride50.xml" ContentType="application/vnd.openxmlformats-officedocument.themeOverride+xml"/>
  <Override PartName="/ppt/tags/tag681.xml" ContentType="application/vnd.openxmlformats-officedocument.presentationml.tags+xml"/>
  <Override PartName="/ppt/theme/themeOverride51.xml" ContentType="application/vnd.openxmlformats-officedocument.themeOverride+xml"/>
  <Override PartName="/ppt/tags/tag682.xml" ContentType="application/vnd.openxmlformats-officedocument.presentationml.tags+xml"/>
  <Override PartName="/ppt/theme/themeOverride52.xml" ContentType="application/vnd.openxmlformats-officedocument.themeOverride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heme/themeOverride53.xml" ContentType="application/vnd.openxmlformats-officedocument.themeOverride+xml"/>
  <Override PartName="/ppt/tags/tag711.xml" ContentType="application/vnd.openxmlformats-officedocument.presentationml.tags+xml"/>
  <Override PartName="/ppt/theme/themeOverride54.xml" ContentType="application/vnd.openxmlformats-officedocument.themeOverride+xml"/>
  <Override PartName="/ppt/tags/tag712.xml" ContentType="application/vnd.openxmlformats-officedocument.presentationml.tags+xml"/>
  <Override PartName="/ppt/theme/themeOverride55.xml" ContentType="application/vnd.openxmlformats-officedocument.themeOverride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theme/theme8.xml" ContentType="application/vnd.openxmlformats-officedocument.theme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theme/theme9.xml" ContentType="application/vnd.openxmlformats-officedocument.theme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heme/themeOverride56.xml" ContentType="application/vnd.openxmlformats-officedocument.themeOverride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heme/themeOverride57.xml" ContentType="application/vnd.openxmlformats-officedocument.themeOverride+xml"/>
  <Override PartName="/ppt/tags/tag766.xml" ContentType="application/vnd.openxmlformats-officedocument.presentationml.tags+xml"/>
  <Override PartName="/ppt/theme/themeOverride58.xml" ContentType="application/vnd.openxmlformats-officedocument.themeOverride+xml"/>
  <Override PartName="/ppt/tags/tag767.xml" ContentType="application/vnd.openxmlformats-officedocument.presentationml.tags+xml"/>
  <Override PartName="/ppt/theme/themeOverride59.xml" ContentType="application/vnd.openxmlformats-officedocument.themeOverride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heme/themeOverride60.xml" ContentType="application/vnd.openxmlformats-officedocument.themeOverride+xml"/>
  <Override PartName="/ppt/tags/tag796.xml" ContentType="application/vnd.openxmlformats-officedocument.presentationml.tags+xml"/>
  <Override PartName="/ppt/theme/themeOverride61.xml" ContentType="application/vnd.openxmlformats-officedocument.themeOverride+xml"/>
  <Override PartName="/ppt/tags/tag797.xml" ContentType="application/vnd.openxmlformats-officedocument.presentationml.tags+xml"/>
  <Override PartName="/ppt/theme/themeOverride62.xml" ContentType="application/vnd.openxmlformats-officedocument.themeOverride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theme/theme10.xml" ContentType="application/vnd.openxmlformats-officedocument.theme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heme/themeOverride63.xml" ContentType="application/vnd.openxmlformats-officedocument.themeOverride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heme/themeOverride64.xml" ContentType="application/vnd.openxmlformats-officedocument.themeOverride+xml"/>
  <Override PartName="/ppt/tags/tag851.xml" ContentType="application/vnd.openxmlformats-officedocument.presentationml.tags+xml"/>
  <Override PartName="/ppt/theme/themeOverride65.xml" ContentType="application/vnd.openxmlformats-officedocument.themeOverride+xml"/>
  <Override PartName="/ppt/tags/tag852.xml" ContentType="application/vnd.openxmlformats-officedocument.presentationml.tags+xml"/>
  <Override PartName="/ppt/theme/themeOverride66.xml" ContentType="application/vnd.openxmlformats-officedocument.themeOverride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heme/themeOverride67.xml" ContentType="application/vnd.openxmlformats-officedocument.themeOverride+xml"/>
  <Override PartName="/ppt/tags/tag881.xml" ContentType="application/vnd.openxmlformats-officedocument.presentationml.tags+xml"/>
  <Override PartName="/ppt/theme/themeOverride68.xml" ContentType="application/vnd.openxmlformats-officedocument.themeOverride+xml"/>
  <Override PartName="/ppt/tags/tag882.xml" ContentType="application/vnd.openxmlformats-officedocument.presentationml.tags+xml"/>
  <Override PartName="/ppt/theme/themeOverride69.xml" ContentType="application/vnd.openxmlformats-officedocument.themeOverride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13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272" r:id="rId5"/>
    <p:sldMasterId id="2147485358" r:id="rId6"/>
    <p:sldMasterId id="2147485771" r:id="rId7"/>
    <p:sldMasterId id="2147486195" r:id="rId8"/>
    <p:sldMasterId id="2147486282" r:id="rId9"/>
    <p:sldMasterId id="2147486455" r:id="rId10"/>
    <p:sldMasterId id="2147486543" r:id="rId11"/>
    <p:sldMasterId id="2147486631" r:id="rId12"/>
    <p:sldMasterId id="2147486657" r:id="rId13"/>
    <p:sldMasterId id="2147486930" r:id="rId14"/>
  </p:sldMasterIdLst>
  <p:notesMasterIdLst>
    <p:notesMasterId r:id="rId21"/>
  </p:notesMasterIdLst>
  <p:handoutMasterIdLst>
    <p:handoutMasterId r:id="rId22"/>
  </p:handoutMasterIdLst>
  <p:sldIdLst>
    <p:sldId id="2147483606" r:id="rId15"/>
    <p:sldId id="261" r:id="rId16"/>
    <p:sldId id="2147483607" r:id="rId17"/>
    <p:sldId id="256" r:id="rId18"/>
    <p:sldId id="277" r:id="rId19"/>
    <p:sldId id="440" r:id="rId20"/>
  </p:sldIdLst>
  <p:sldSz cx="12192000" cy="6858000"/>
  <p:notesSz cx="6950075" cy="9236075"/>
  <p:custShowLst>
    <p:custShow name="Format Guide Workshop" id="0">
      <p:sldLst/>
    </p:custShow>
  </p:custShowLst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7B456A0-1C41-4CE1-B185-1E49E9DB4827}">
          <p14:sldIdLst>
            <p14:sldId id="2147483606"/>
            <p14:sldId id="261"/>
            <p14:sldId id="2147483607"/>
            <p14:sldId id="256"/>
            <p14:sldId id="277"/>
          </p14:sldIdLst>
        </p14:section>
        <p14:section name="Appendix - Rise chohort 1 for startups" id="{27853128-71BA-4B2C-96C8-E01189DD47C5}">
          <p14:sldIdLst>
            <p14:sldId id="4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CCFD81B-BCAD-33AE-73A2-07DDD05CB917}" name="Yossi Ofek" initials="YO" userId="S::yossi.ofek@teva.co.il::bd2fa3f1-c9c6-4223-acfe-7e3bc618ec97" providerId="AD"/>
  <p188:author id="{D05C1974-AD34-36A4-7411-239CA9307C48}" name="Igal Gurevich" initials="IG" userId="S::Igal.Gurevich@teva.co.il::50843c5d-056a-404f-bac4-2c13e3f4e5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55B"/>
    <a:srgbClr val="FFFFFF"/>
    <a:srgbClr val="1D6659"/>
    <a:srgbClr val="204E58"/>
    <a:srgbClr val="333333"/>
    <a:srgbClr val="F3F4F1"/>
    <a:srgbClr val="002C45"/>
    <a:srgbClr val="012234"/>
    <a:srgbClr val="001E2F"/>
    <a:srgbClr val="182D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5" autoAdjust="0"/>
    <p:restoredTop sz="94660"/>
  </p:normalViewPr>
  <p:slideViewPr>
    <p:cSldViewPr snapToGrid="0">
      <p:cViewPr varScale="1">
        <p:scale>
          <a:sx n="63" d="100"/>
          <a:sy n="63" d="100"/>
        </p:scale>
        <p:origin x="1276" y="272"/>
      </p:cViewPr>
      <p:guideLst>
        <p:guide orient="horz" pos="2184"/>
        <p:guide pos="37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.xml"/><Relationship Id="rId23" Type="http://schemas.openxmlformats.org/officeDocument/2006/relationships/tags" Target="tags/tag1.xml"/><Relationship Id="rId28" Type="http://schemas.microsoft.com/office/2018/10/relationships/authors" Target="author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Teva Sans" panose="020B0604030202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Teva Sans" panose="020B0604030202020203" pitchFamily="34" charset="0"/>
              </a:rPr>
              <a:t>12/22/2025</a:t>
            </a:fld>
            <a:endParaRPr lang="en-US" sz="800">
              <a:latin typeface="Teva Sans" panose="020B0604030202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Teva Sans" panose="020B06040302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Teva Sans" panose="020B0604030202020203" pitchFamily="34" charset="0"/>
              </a:rPr>
              <a:t>‹#›</a:t>
            </a:fld>
            <a:endParaRPr lang="en-US" sz="800">
              <a:latin typeface="Teva Sans" panose="020B060403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Teva Sans" panose="020B0604030202020203" pitchFamily="34" charset="0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>
              <a:latin typeface="Teva Sans" panose="020B0604030202020203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Teva Sans" panose="020B0604030202020203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>
              <a:latin typeface="Teva Sans" panose="020B0604030202020203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latin typeface="Teva Sans" panose="020B0604030202020203" pitchFamily="34" charset="0"/>
              </a:rPr>
              <a:t>Notes view: </a:t>
            </a:r>
            <a:fld id="{128CEAFE-FA94-43E5-B0FF-D47E1CCDD1B4}" type="slidenum">
              <a:rPr lang="en-US" smtClean="0">
                <a:latin typeface="Teva Sans" panose="020B0604030202020203" pitchFamily="34" charset="0"/>
              </a:rPr>
              <a:pPr/>
              <a:t>‹#›</a:t>
            </a:fld>
            <a:endParaRPr lang="en-US">
              <a:latin typeface="Teva Sans" panose="020B0604030202020203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>
                <a:latin typeface="Teva Sans" panose="020B0604030202020203" pitchFamily="34" charset="0"/>
              </a:rPr>
              <a:pPr/>
              <a:t>12/22/2025</a:t>
            </a:fld>
            <a:endParaRPr lang="en-US">
              <a:latin typeface="Teva Sans" panose="020B060403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Teva Sans" panose="020B0604030202020203" pitchFamily="34" charset="0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Teva Sans" panose="020B0604030202020203" pitchFamily="34" charset="0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Teva Sans" panose="020B0604030202020203" pitchFamily="34" charset="0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Teva Sans" panose="020B0604030202020203" pitchFamily="34" charset="0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Teva Sans" panose="020B0604030202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r" defTabSz="914400" rtl="1" eaLnBrk="1" latinLnBrk="0" hangingPunct="1">
              <a:spcAft>
                <a:spcPts val="600"/>
              </a:spcAft>
              <a:buFont typeface="Arial" panose="020B0604020202020204" pitchFamily="34" charset="0"/>
              <a:buChar char="​"/>
            </a:pPr>
            <a:endParaRPr lang="en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eva Sans" panose="020B0604030202020203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eva Sans" panose="020B0604030202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eva Sans" panose="020B06040302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962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defTabSz="914400" rtl="0" eaLnBrk="1" latinLnBrk="0" hangingPunct="1">
              <a:spcAft>
                <a:spcPts val="600"/>
              </a:spcAft>
              <a:buFont typeface="Arial" panose="020B0604020202020204" pitchFamily="34" charset="0"/>
              <a:buChar char="​"/>
            </a:pPr>
            <a:endParaRPr lang="en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eva Sans" panose="020B0604030202020203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eva Sans" panose="020B0604030202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eva Sans" panose="020B06040302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3402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Teva Sans" panose="020B06040302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eva Sans" panose="020B0604030202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eva Sans" panose="020B06040302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325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jpe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10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11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12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5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6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8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3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7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38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39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40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1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2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3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4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8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jpe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2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sv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sv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3.bin"/><Relationship Id="rId4" Type="http://schemas.openxmlformats.org/officeDocument/2006/relationships/image" Target="../media/image29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0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1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2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3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4.jpe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81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82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83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5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6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7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9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22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7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08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09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10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1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2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3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4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8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3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sv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2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svg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7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1.xml"/><Relationship Id="rId4" Type="http://schemas.openxmlformats.org/officeDocument/2006/relationships/image" Target="../media/image15.sv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5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3.bin"/><Relationship Id="rId4" Type="http://schemas.openxmlformats.org/officeDocument/2006/relationships/image" Target="../media/image29.jpe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8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9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0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1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2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8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6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6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6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4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5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26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6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8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0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22.emf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27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2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87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2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88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89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1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2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3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5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6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7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3.emf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2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svg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svg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3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2.jpe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1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5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2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6.bin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3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7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4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8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100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jpe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2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5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6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7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9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3.bin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2.jpe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8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2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5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6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7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9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6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1.bin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svg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svg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2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4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6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7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8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9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8.xml"/><Relationship Id="rId4" Type="http://schemas.openxmlformats.org/officeDocument/2006/relationships/image" Target="../media/image15.svg"/></Relationships>
</file>

<file path=ppt/slideLayouts/_rels/slideLayout4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jpeg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4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426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427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428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0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1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2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4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9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4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456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4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457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4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458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0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1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2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4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9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1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svg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svg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1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2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3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4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35.xml"/><Relationship Id="rId4" Type="http://schemas.openxmlformats.org/officeDocument/2006/relationships/image" Target="../media/image15.svg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jpeg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511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512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5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513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5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6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7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9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532.xml"/><Relationship Id="rId1" Type="http://schemas.openxmlformats.org/officeDocument/2006/relationships/tags" Target="../tags/tag53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8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5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541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5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542.xml"/><Relationship Id="rId1" Type="http://schemas.openxmlformats.org/officeDocument/2006/relationships/themeOverride" Target="../theme/themeOverride40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5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543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5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6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5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7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9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6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56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5.svg"/><Relationship Id="rId2" Type="http://schemas.openxmlformats.org/officeDocument/2006/relationships/tags" Target="../tags/tag563.xml"/><Relationship Id="rId1" Type="http://schemas.openxmlformats.org/officeDocument/2006/relationships/tags" Target="../tags/tag56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5.svg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5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2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575.xml"/><Relationship Id="rId1" Type="http://schemas.openxmlformats.org/officeDocument/2006/relationships/tags" Target="../tags/tag57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6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7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8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9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42.xml"/><Relationship Id="rId4" Type="http://schemas.openxmlformats.org/officeDocument/2006/relationships/image" Target="../media/image15.svg"/></Relationships>
</file>

<file path=ppt/slideLayouts/_rels/slideLayout5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jpeg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6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png"/><Relationship Id="rId2" Type="http://schemas.openxmlformats.org/officeDocument/2006/relationships/tags" Target="../tags/tag596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6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png"/><Relationship Id="rId2" Type="http://schemas.openxmlformats.org/officeDocument/2006/relationships/tags" Target="../tags/tag597.xml"/><Relationship Id="rId1" Type="http://schemas.openxmlformats.org/officeDocument/2006/relationships/themeOverride" Target="../theme/themeOverride44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6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png"/><Relationship Id="rId2" Type="http://schemas.openxmlformats.org/officeDocument/2006/relationships/tags" Target="../tags/tag598.xml"/><Relationship Id="rId1" Type="http://schemas.openxmlformats.org/officeDocument/2006/relationships/themeOverride" Target="../theme/themeOverride45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0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1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2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4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9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617.xml"/><Relationship Id="rId1" Type="http://schemas.openxmlformats.org/officeDocument/2006/relationships/tags" Target="../tags/tag61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png"/><Relationship Id="rId2" Type="http://schemas.openxmlformats.org/officeDocument/2006/relationships/tags" Target="../tags/tag626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6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png"/><Relationship Id="rId2" Type="http://schemas.openxmlformats.org/officeDocument/2006/relationships/tags" Target="../tags/tag627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6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png"/><Relationship Id="rId2" Type="http://schemas.openxmlformats.org/officeDocument/2006/relationships/tags" Target="../tags/tag628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0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1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2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4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9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1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5.svg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5.svg"/><Relationship Id="rId2" Type="http://schemas.openxmlformats.org/officeDocument/2006/relationships/tags" Target="../tags/tag653.xml"/><Relationship Id="rId1" Type="http://schemas.openxmlformats.org/officeDocument/2006/relationships/tags" Target="../tags/tag65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6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660.xml"/><Relationship Id="rId1" Type="http://schemas.openxmlformats.org/officeDocument/2006/relationships/tags" Target="../tags/tag65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1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2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3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4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49.xml"/><Relationship Id="rId4" Type="http://schemas.openxmlformats.org/officeDocument/2006/relationships/image" Target="../media/image15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8.jpeg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6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png"/><Relationship Id="rId2" Type="http://schemas.openxmlformats.org/officeDocument/2006/relationships/tags" Target="../tags/tag681.xml"/><Relationship Id="rId1" Type="http://schemas.openxmlformats.org/officeDocument/2006/relationships/themeOverride" Target="../theme/themeOverride50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6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png"/><Relationship Id="rId2" Type="http://schemas.openxmlformats.org/officeDocument/2006/relationships/tags" Target="../tags/tag682.xml"/><Relationship Id="rId1" Type="http://schemas.openxmlformats.org/officeDocument/2006/relationships/themeOverride" Target="../theme/themeOverride51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6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png"/><Relationship Id="rId2" Type="http://schemas.openxmlformats.org/officeDocument/2006/relationships/tags" Target="../tags/tag683.xml"/><Relationship Id="rId1" Type="http://schemas.openxmlformats.org/officeDocument/2006/relationships/themeOverride" Target="../theme/themeOverride52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5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6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7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9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702.xml"/><Relationship Id="rId1" Type="http://schemas.openxmlformats.org/officeDocument/2006/relationships/tags" Target="../tags/tag70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8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7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png"/><Relationship Id="rId2" Type="http://schemas.openxmlformats.org/officeDocument/2006/relationships/tags" Target="../tags/tag711.xml"/><Relationship Id="rId1" Type="http://schemas.openxmlformats.org/officeDocument/2006/relationships/themeOverride" Target="../theme/themeOverride53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7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png"/><Relationship Id="rId2" Type="http://schemas.openxmlformats.org/officeDocument/2006/relationships/tags" Target="../tags/tag712.xml"/><Relationship Id="rId1" Type="http://schemas.openxmlformats.org/officeDocument/2006/relationships/themeOverride" Target="../theme/themeOverride54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7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png"/><Relationship Id="rId2" Type="http://schemas.openxmlformats.org/officeDocument/2006/relationships/tags" Target="../tags/tag713.xml"/><Relationship Id="rId1" Type="http://schemas.openxmlformats.org/officeDocument/2006/relationships/themeOverride" Target="../theme/themeOverride55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4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5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6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7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8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9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0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6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2.svg"/><Relationship Id="rId2" Type="http://schemas.openxmlformats.org/officeDocument/2006/relationships/tags" Target="../tags/tag733.xml"/><Relationship Id="rId1" Type="http://schemas.openxmlformats.org/officeDocument/2006/relationships/tags" Target="../tags/tag73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2.svg"/><Relationship Id="rId2" Type="http://schemas.openxmlformats.org/officeDocument/2006/relationships/tags" Target="../tags/tag738.xml"/><Relationship Id="rId1" Type="http://schemas.openxmlformats.org/officeDocument/2006/relationships/tags" Target="../tags/tag73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4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4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42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7" Type="http://schemas.openxmlformats.org/officeDocument/2006/relationships/image" Target="../media/image41.sv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7" Type="http://schemas.openxmlformats.org/officeDocument/2006/relationships/image" Target="../media/image41.sv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8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8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png"/><Relationship Id="rId2" Type="http://schemas.openxmlformats.org/officeDocument/2006/relationships/tags" Target="../tags/tag745.xml"/><Relationship Id="rId1" Type="http://schemas.openxmlformats.org/officeDocument/2006/relationships/tags" Target="../tags/tag74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46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47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48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49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56.xml"/><Relationship Id="rId4" Type="http://schemas.openxmlformats.org/officeDocument/2006/relationships/image" Target="../media/image15.svg"/></Relationships>
</file>

<file path=ppt/slideLayouts/_rels/slideLayout7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jpeg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7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1.png"/><Relationship Id="rId2" Type="http://schemas.openxmlformats.org/officeDocument/2006/relationships/tags" Target="../tags/tag766.xml"/><Relationship Id="rId1" Type="http://schemas.openxmlformats.org/officeDocument/2006/relationships/themeOverride" Target="../theme/themeOverride57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7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1.png"/><Relationship Id="rId2" Type="http://schemas.openxmlformats.org/officeDocument/2006/relationships/tags" Target="../tags/tag767.xml"/><Relationship Id="rId1" Type="http://schemas.openxmlformats.org/officeDocument/2006/relationships/themeOverride" Target="../theme/themeOverride58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5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8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1.png"/><Relationship Id="rId2" Type="http://schemas.openxmlformats.org/officeDocument/2006/relationships/tags" Target="../tags/tag768.xml"/><Relationship Id="rId1" Type="http://schemas.openxmlformats.org/officeDocument/2006/relationships/themeOverride" Target="../theme/themeOverride59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0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1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2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4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9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png"/><Relationship Id="rId2" Type="http://schemas.openxmlformats.org/officeDocument/2006/relationships/tags" Target="../tags/tag787.xml"/><Relationship Id="rId1" Type="http://schemas.openxmlformats.org/officeDocument/2006/relationships/tags" Target="../tags/tag78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3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4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8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1.png"/><Relationship Id="rId2" Type="http://schemas.openxmlformats.org/officeDocument/2006/relationships/tags" Target="../tags/tag796.xml"/><Relationship Id="rId1" Type="http://schemas.openxmlformats.org/officeDocument/2006/relationships/themeOverride" Target="../theme/themeOverride60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8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1.png"/><Relationship Id="rId2" Type="http://schemas.openxmlformats.org/officeDocument/2006/relationships/tags" Target="../tags/tag797.xml"/><Relationship Id="rId1" Type="http://schemas.openxmlformats.org/officeDocument/2006/relationships/themeOverride" Target="../theme/themeOverride61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8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1.png"/><Relationship Id="rId2" Type="http://schemas.openxmlformats.org/officeDocument/2006/relationships/tags" Target="../tags/tag798.xml"/><Relationship Id="rId1" Type="http://schemas.openxmlformats.org/officeDocument/2006/relationships/themeOverride" Target="../theme/themeOverride62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9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0.xml"/><Relationship Id="rId6" Type="http://schemas.openxmlformats.org/officeDocument/2006/relationships/image" Target="../media/image11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1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7.emf"/></Relationships>
</file>

<file path=ppt/slideLayouts/_rels/slideLayout8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2.xml"/><Relationship Id="rId6" Type="http://schemas.openxmlformats.org/officeDocument/2006/relationships/image" Target="../media/image11.png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3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4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5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6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9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1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7.emf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5.svg"/><Relationship Id="rId2" Type="http://schemas.openxmlformats.org/officeDocument/2006/relationships/tags" Target="../tags/tag818.xml"/><Relationship Id="rId1" Type="http://schemas.openxmlformats.org/officeDocument/2006/relationships/tags" Target="../tags/tag81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8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5.svg"/><Relationship Id="rId2" Type="http://schemas.openxmlformats.org/officeDocument/2006/relationships/tags" Target="../tags/tag823.xml"/><Relationship Id="rId1" Type="http://schemas.openxmlformats.org/officeDocument/2006/relationships/tags" Target="../tags/tag82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7.xml"/><Relationship Id="rId6" Type="http://schemas.openxmlformats.org/officeDocument/2006/relationships/image" Target="../media/image1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8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4.png"/><Relationship Id="rId2" Type="http://schemas.openxmlformats.org/officeDocument/2006/relationships/tags" Target="../tags/tag830.xml"/><Relationship Id="rId1" Type="http://schemas.openxmlformats.org/officeDocument/2006/relationships/tags" Target="../tags/tag82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6.jpeg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3.bin"/><Relationship Id="rId4" Type="http://schemas.openxmlformats.org/officeDocument/2006/relationships/image" Target="../media/image2.jpeg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1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2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3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4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63.xml"/><Relationship Id="rId4" Type="http://schemas.openxmlformats.org/officeDocument/2006/relationships/image" Target="../media/image15.svg"/></Relationships>
</file>

<file path=ppt/slideLayouts/_rels/slideLayout8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8.jpeg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8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851.xml"/><Relationship Id="rId1" Type="http://schemas.openxmlformats.org/officeDocument/2006/relationships/themeOverride" Target="../theme/themeOverride64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8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852.xml"/><Relationship Id="rId1" Type="http://schemas.openxmlformats.org/officeDocument/2006/relationships/themeOverride" Target="../theme/themeOverride65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8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853.xml"/><Relationship Id="rId1" Type="http://schemas.openxmlformats.org/officeDocument/2006/relationships/themeOverride" Target="../theme/themeOverride66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8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4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7.emf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5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6.xml"/><Relationship Id="rId6" Type="http://schemas.openxmlformats.org/officeDocument/2006/relationships/image" Target="../media/image11.png"/><Relationship Id="rId5" Type="http://schemas.openxmlformats.org/officeDocument/2006/relationships/image" Target="../media/image59.png"/><Relationship Id="rId4" Type="http://schemas.openxmlformats.org/officeDocument/2006/relationships/image" Target="../media/image2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7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8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7.emf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9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8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0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7.emf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1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8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9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4.png"/><Relationship Id="rId2" Type="http://schemas.openxmlformats.org/officeDocument/2006/relationships/tags" Target="../tags/tag872.xml"/><Relationship Id="rId1" Type="http://schemas.openxmlformats.org/officeDocument/2006/relationships/tags" Target="../tags/tag87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56.jpeg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8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9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0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Layouts/_rels/slideLayout9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881.xml"/><Relationship Id="rId1" Type="http://schemas.openxmlformats.org/officeDocument/2006/relationships/themeOverride" Target="../theme/themeOverride67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9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882.xml"/><Relationship Id="rId1" Type="http://schemas.openxmlformats.org/officeDocument/2006/relationships/themeOverride" Target="../theme/themeOverride68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9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883.xml"/><Relationship Id="rId1" Type="http://schemas.openxmlformats.org/officeDocument/2006/relationships/themeOverride" Target="../theme/themeOverride69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4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22.emf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5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6.xml"/><Relationship Id="rId6" Type="http://schemas.openxmlformats.org/officeDocument/2006/relationships/image" Target="../media/image11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7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8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7.emf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9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0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7.emf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1.xml"/><Relationship Id="rId6" Type="http://schemas.openxmlformats.org/officeDocument/2006/relationships/image" Target="../media/image11.png"/><Relationship Id="rId5" Type="http://schemas.openxmlformats.org/officeDocument/2006/relationships/image" Target="../media/image58.png"/><Relationship Id="rId4" Type="http://schemas.openxmlformats.org/officeDocument/2006/relationships/image" Target="../media/image7.emf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2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3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4.xml"/><Relationship Id="rId6" Type="http://schemas.openxmlformats.org/officeDocument/2006/relationships/image" Target="../media/image11.png"/><Relationship Id="rId5" Type="http://schemas.openxmlformats.org/officeDocument/2006/relationships/image" Target="../media/image26.png"/><Relationship Id="rId4" Type="http://schemas.openxmlformats.org/officeDocument/2006/relationships/image" Target="../media/image3.emf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6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7.emf"/></Relationships>
</file>

<file path=ppt/slideLayouts/_rels/slideLayout9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5.svg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0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0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5.svg"/><Relationship Id="rId2" Type="http://schemas.openxmlformats.org/officeDocument/2006/relationships/tags" Target="../tags/tag903.xml"/><Relationship Id="rId1" Type="http://schemas.openxmlformats.org/officeDocument/2006/relationships/tags" Target="../tags/tag90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9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04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0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06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5.svg"/><Relationship Id="rId2" Type="http://schemas.openxmlformats.org/officeDocument/2006/relationships/tags" Target="../tags/tag908.xml"/><Relationship Id="rId1" Type="http://schemas.openxmlformats.org/officeDocument/2006/relationships/tags" Target="../tags/tag90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0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83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1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11.xml"/><Relationship Id="rId6" Type="http://schemas.openxmlformats.org/officeDocument/2006/relationships/image" Target="../media/image11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9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12.xml"/><Relationship Id="rId6" Type="http://schemas.openxmlformats.org/officeDocument/2006/relationships/image" Target="../media/image11.png"/><Relationship Id="rId5" Type="http://schemas.openxmlformats.org/officeDocument/2006/relationships/image" Target="../media/image57.png"/><Relationship Id="rId4" Type="http://schemas.openxmlformats.org/officeDocument/2006/relationships/image" Target="../media/image1.emf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74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36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2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37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0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091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27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907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51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76673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32740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72444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58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8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23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972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8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976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532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226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0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77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07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11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94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4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445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8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32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85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88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655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66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48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77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31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609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95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73449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49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27506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81697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62521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30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3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59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044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723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83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91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01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92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04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83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60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84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191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05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211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63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7903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81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58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344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07323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79052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42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53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3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0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826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30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2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944844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7414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707652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07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90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81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EAE02-7F78-E1EF-579D-2DC6BBBA12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DBF24-2679-37BF-824D-8FDACBE18C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832ACA-4727-4D4C-ACEE-24DD06899962}" type="slidenum">
              <a:rPr lang="en-US" smtClean="0"/>
              <a:pPr/>
              <a:t>‹#›</a:t>
            </a:fld>
            <a:r>
              <a:rPr lang="en-US"/>
              <a:t> |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2DE5939-FFC3-8A27-6217-58CE8E533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5379" y="6411908"/>
            <a:ext cx="9616241" cy="365125"/>
          </a:xfrm>
        </p:spPr>
        <p:txBody>
          <a:bodyPr anchor="ctr">
            <a:normAutofit/>
          </a:bodyPr>
          <a:lstStyle>
            <a:lvl1pPr>
              <a:defRPr sz="1100" spc="0" baseline="0"/>
            </a:lvl1pPr>
            <a:lvl2pPr marL="0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CLASSIFICATION IF NEEDED</a:t>
            </a:r>
          </a:p>
        </p:txBody>
      </p:sp>
    </p:spTree>
    <p:extLst>
      <p:ext uri="{BB962C8B-B14F-4D97-AF65-F5344CB8AC3E}">
        <p14:creationId xmlns:p14="http://schemas.microsoft.com/office/powerpoint/2010/main" val="900831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79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27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6262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222408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7693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212769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286023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435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79585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03311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59649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7F2AD5-529A-3A95-44F7-F802699F8B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7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58B1FFA-9CE9-9D50-3B9B-3C4A9ADC27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52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21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A41A2EE-9D23-099B-7CB5-86B129DC3D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56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BAF5694-D9F2-BA02-7C3F-520F6D2251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89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825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552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752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003841-C28E-80BF-A436-F55840CEB3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9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1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15E2891-BB59-D64A-E47A-19CF4DD7998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5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42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F51B4D3-AE98-0C06-B499-8ABF9F55D1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59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850865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779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7BC9834-0DEE-727C-1866-7600BCE62E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83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0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43AAE6C-F57E-B587-B244-707D0CCE624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08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85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5F4A012-0249-0BC8-83A4-9843036B95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86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B2BAFFB-E174-E5BB-BB4C-1C68A076C2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0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6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B3E416-D200-BBA9-62CF-8B0E1D580C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926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25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9084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7047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17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94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4276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1138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7254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111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E8AECEB-C28E-2062-4B72-22A9351A21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7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092D53D-F5AE-5CD3-B076-D8910FDCEF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72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116EE-356E-98DE-819C-3B2A3AF7CF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63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760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00304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10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174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04A96C-FAA5-C01C-1B5F-2FCB027948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94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323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4015C49-5A55-59DB-F668-DC7B768709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77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74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56EBCD-8268-E663-C25E-123D4D0B09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22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03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C704249-FA8A-6953-4679-AB91353DCF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28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25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A4A8195-51AB-C482-0135-DA1765471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18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3507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E5B6C5-E4B8-55A4-9B2B-743BCA4677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76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FF531EA-9B14-F136-B956-A9D3AB347D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98BB223-B2DE-F6B3-3429-A736E26261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92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05AE236-6EB3-B647-4761-B2D08DCEA4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16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09879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03941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33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015A3AC-0BCD-C5C3-796F-BF21288F32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80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39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7749F01-7F74-6B23-B59F-86E77DC88CD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53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87BC6F2-C9EF-8663-67FF-A7199DB026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08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202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9964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4041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4347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64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53E7ED9-5585-1973-8B51-C407DF6F348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23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4F9C45A-0B9E-CBCD-FA69-3B96B699C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42900"/>
            <a:ext cx="10945470" cy="583511"/>
          </a:xfrm>
        </p:spPr>
        <p:txBody>
          <a:bodyPr/>
          <a:lstStyle>
            <a:lvl1pPr algn="ctr" rtl="0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964DBA-B9FF-35D8-9310-E0C25B599C95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3888" y="1569601"/>
            <a:ext cx="10944225" cy="4343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9B20855-3111-36AB-1909-87446020B9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69" y="938768"/>
            <a:ext cx="10943743" cy="431296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tabLst/>
              <a:defRPr sz="2000" b="1">
                <a:solidFill>
                  <a:schemeClr val="tx2"/>
                </a:solidFill>
                <a:latin typeface="Teva Sans" panose="020B0604030202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/>
              <a:defRPr sz="18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/>
              <a:defRPr sz="1400"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277B4F94-B1AA-F7AD-FE41-B5BEE8753B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5379" y="6411908"/>
            <a:ext cx="9616241" cy="365125"/>
          </a:xfrm>
        </p:spPr>
        <p:txBody>
          <a:bodyPr anchor="ctr">
            <a:normAutofit/>
          </a:bodyPr>
          <a:lstStyle>
            <a:lvl1pPr>
              <a:defRPr sz="1100" spc="0" baseline="0"/>
            </a:lvl1pPr>
            <a:lvl2pPr marL="0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CLASSIFICATION IF NEED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CDF8C7-6535-6A8F-9FAB-00A408412F28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832ACA-4727-4D4C-ACEE-24DD06899962}" type="slidenum">
              <a:rPr lang="en-US" smtClean="0"/>
              <a:pPr/>
              <a:t>‹#›</a:t>
            </a:fld>
            <a:r>
              <a:rPr lang="en-US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25324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997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60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25826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698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4894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668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213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57733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3640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4F9C45A-0B9E-CBCD-FA69-3B96B699C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42900"/>
            <a:ext cx="10945470" cy="583511"/>
          </a:xfrm>
        </p:spPr>
        <p:txBody>
          <a:bodyPr/>
          <a:lstStyle>
            <a:lvl1pPr algn="ctr" rtl="0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964DBA-B9FF-35D8-9310-E0C25B599C95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3888" y="1569601"/>
            <a:ext cx="10944225" cy="4343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9B20855-3111-36AB-1909-87446020B9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69" y="938768"/>
            <a:ext cx="10943743" cy="431296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tabLst/>
              <a:defRPr sz="2000" b="1">
                <a:solidFill>
                  <a:schemeClr val="tx2"/>
                </a:solidFill>
                <a:latin typeface="Teva Sans" panose="020B0604030202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/>
              <a:defRPr sz="18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/>
              <a:defRPr sz="1400"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277B4F94-B1AA-F7AD-FE41-B5BEE8753B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5379" y="6411908"/>
            <a:ext cx="9616241" cy="365125"/>
          </a:xfrm>
        </p:spPr>
        <p:txBody>
          <a:bodyPr anchor="ctr">
            <a:normAutofit/>
          </a:bodyPr>
          <a:lstStyle>
            <a:lvl1pPr>
              <a:defRPr sz="1100" spc="0" baseline="0"/>
            </a:lvl1pPr>
            <a:lvl2pPr marL="0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CLASSIFICATION IF NEED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CDF8C7-6535-6A8F-9FAB-00A408412F28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832ACA-4727-4D4C-ACEE-24DD06899962}" type="slidenum">
              <a:rPr lang="en-US" smtClean="0"/>
              <a:pPr/>
              <a:t>‹#›</a:t>
            </a:fld>
            <a:r>
              <a:rPr lang="en-US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69467494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8810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32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64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56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253014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171636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64335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44673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217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922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7858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7441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68261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9F5EF9-C970-83F5-5955-E7658BB8BEE1}"/>
              </a:ext>
            </a:extLst>
          </p:cNvPr>
          <p:cNvSpPr/>
          <p:nvPr userDrawn="1"/>
        </p:nvSpPr>
        <p:spPr>
          <a:xfrm>
            <a:off x="0" y="1"/>
            <a:ext cx="4088019" cy="6857999"/>
          </a:xfrm>
          <a:prstGeom prst="rect">
            <a:avLst/>
          </a:prstGeom>
          <a:gradFill>
            <a:gsLst>
              <a:gs pos="0">
                <a:srgbClr val="108443"/>
              </a:gs>
              <a:gs pos="41317">
                <a:srgbClr val="215C60"/>
              </a:gs>
              <a:gs pos="79000">
                <a:srgbClr val="1E394C"/>
              </a:gs>
              <a:gs pos="100000">
                <a:srgbClr val="162835"/>
              </a:gs>
            </a:gsLst>
            <a:lin ang="2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>
              <a:solidFill>
                <a:srgbClr val="FFFFFF"/>
              </a:solidFill>
              <a:latin typeface="Teva Sans Light"/>
              <a:ea typeface="+mj-ea"/>
              <a:cs typeface="+mj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48362" y="0"/>
            <a:ext cx="8234254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54529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7F2AD5-529A-3A95-44F7-F802699F8B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1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58B1FFA-9CE9-9D50-3B9B-3C4A9ADC27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48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A41A2EE-9D23-099B-7CB5-86B129DC3D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06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BAF5694-D9F2-BA02-7C3F-520F6D2251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76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440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345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2612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003841-C28E-80BF-A436-F55840CEB3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04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36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15E2891-BB59-D64A-E47A-19CF4DD7998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927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78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91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F51B4D3-AE98-0C06-B499-8ABF9F55D1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70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09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7BC9834-0DEE-727C-1866-7600BCE62E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767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83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43AAE6C-F57E-B587-B244-707D0CCE624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53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3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5F4A012-0249-0BC8-83A4-9843036B95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47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B2BAFFB-E174-E5BB-BB4C-1C68A076C2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95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7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253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B3E416-D200-BBA9-62CF-8B0E1D580C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06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5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End"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5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106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0706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44654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77280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32347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E8AECEB-C28E-2062-4B72-22A9351A21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92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092D53D-F5AE-5CD3-B076-D8910FDCEF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14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09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116EE-356E-98DE-819C-3B2A3AF7CF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9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79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085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427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04A96C-FAA5-C01C-1B5F-2FCB027948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7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787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4015C49-5A55-59DB-F668-DC7B768709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662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5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56EBCD-8268-E663-C25E-123D4D0B09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5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73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679174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4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C704249-FA8A-6953-4679-AB91353DCF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52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92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A4A8195-51AB-C482-0135-DA1765471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83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07659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E5B6C5-E4B8-55A4-9B2B-743BCA4677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40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FF531EA-9B14-F136-B956-A9D3AB347D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06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98BB223-B2DE-F6B3-3429-A736E26261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33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05AE236-6EB3-B647-4761-B2D08DCEA4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99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9151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1914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07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084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015A3AC-0BCD-C5C3-796F-BF21288F32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11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7749F01-7F74-6B23-B59F-86E77DC88CD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16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87BC6F2-C9EF-8663-67FF-A7199DB026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41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01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777133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9211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2377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0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53E7ED9-5585-1973-8B51-C407DF6F348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80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73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79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15113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75748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97297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52657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7340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723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5079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425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36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55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45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014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242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18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364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652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0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096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27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200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48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919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0123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6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1671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76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39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03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17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588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79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2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5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08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80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10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87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69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84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21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73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78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25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46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89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0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83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80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15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285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6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5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12612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2173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2899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8471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99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8789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27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70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54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260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23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855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03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8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4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6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23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5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04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24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49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8451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60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74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76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76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0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87676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126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757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34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89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1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262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10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07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08229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68547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77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2204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79992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74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18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8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19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648643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5509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61985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29758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122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94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386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4421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314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36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5128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879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22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665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420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364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0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4551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80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27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639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" name="Foliennummernplatzhalter 4">
            <a:extLst>
              <a:ext uri="{FF2B5EF4-FFF2-40B4-BE49-F238E27FC236}">
                <a16:creationId xmlns:a16="http://schemas.microsoft.com/office/drawing/2014/main" id="{9770B394-7609-B3C1-E859-ACADA4D32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342900" y="6415626"/>
            <a:ext cx="531813" cy="365125"/>
          </a:xfrm>
        </p:spPr>
        <p:txBody>
          <a:bodyPr/>
          <a:lstStyle/>
          <a:p>
            <a:fld id="{802006FE-6571-4354-8775-F8708372C2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568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7086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6936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25237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72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21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24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53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9F5EF9-C970-83F5-5955-E7658BB8BEE1}"/>
              </a:ext>
            </a:extLst>
          </p:cNvPr>
          <p:cNvSpPr/>
          <p:nvPr userDrawn="1"/>
        </p:nvSpPr>
        <p:spPr>
          <a:xfrm>
            <a:off x="0" y="1"/>
            <a:ext cx="4088019" cy="6857999"/>
          </a:xfrm>
          <a:prstGeom prst="rect">
            <a:avLst/>
          </a:prstGeom>
          <a:gradFill>
            <a:gsLst>
              <a:gs pos="0">
                <a:srgbClr val="108443"/>
              </a:gs>
              <a:gs pos="41317">
                <a:srgbClr val="215C60"/>
              </a:gs>
              <a:gs pos="79000">
                <a:srgbClr val="1E394C"/>
              </a:gs>
              <a:gs pos="100000">
                <a:srgbClr val="162835"/>
              </a:gs>
            </a:gsLst>
            <a:lin ang="2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>
              <a:solidFill>
                <a:srgbClr val="FFFFFF"/>
              </a:solidFill>
              <a:latin typeface="Teva Sans Light"/>
              <a:ea typeface="+mj-ea"/>
              <a:cs typeface="+mj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48362" y="0"/>
            <a:ext cx="8234254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8510779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15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717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671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30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49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1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4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65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79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37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54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87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107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96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4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98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71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69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64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7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806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6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26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276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942683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11367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6145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597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77646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8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33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6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704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671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6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7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4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99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74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86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65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7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80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57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79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77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90346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5629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27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48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7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62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7626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9844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757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39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62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44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8943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29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03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9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55122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6665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74743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46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1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353797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3ED32359-97E4-713E-6F12-B34C1C1457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CA1374DA-2A8D-35C1-1B4C-7534AF410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9CC03C24-F825-553D-981F-37045D409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B3D5C83-4A55-BF2F-27DE-7F696BAA82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6CD62F5C-9DC6-3E60-0AA7-8AC08C77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94441-68C3-4B8D-8DEA-CCB3BE60D60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7206499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92979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44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57049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739315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66518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23437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210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9979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1288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4885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36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875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94463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97601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75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246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527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945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437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0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230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27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732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8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03440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6303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798252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00624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54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627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62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9F5EF9-C970-83F5-5955-E7658BB8BEE1}"/>
              </a:ext>
            </a:extLst>
          </p:cNvPr>
          <p:cNvSpPr/>
          <p:nvPr userDrawn="1"/>
        </p:nvSpPr>
        <p:spPr>
          <a:xfrm>
            <a:off x="0" y="1"/>
            <a:ext cx="4088019" cy="6857999"/>
          </a:xfrm>
          <a:prstGeom prst="rect">
            <a:avLst/>
          </a:prstGeom>
          <a:gradFill>
            <a:gsLst>
              <a:gs pos="0">
                <a:srgbClr val="108443"/>
              </a:gs>
              <a:gs pos="41317">
                <a:srgbClr val="215C60"/>
              </a:gs>
              <a:gs pos="79000">
                <a:srgbClr val="1E394C"/>
              </a:gs>
              <a:gs pos="100000">
                <a:srgbClr val="162835"/>
              </a:gs>
            </a:gsLst>
            <a:lin ang="2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>
              <a:solidFill>
                <a:srgbClr val="FFFFFF"/>
              </a:solidFill>
              <a:latin typeface="Teva Sans Light"/>
              <a:ea typeface="+mj-ea"/>
              <a:cs typeface="+mj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48362" y="0"/>
            <a:ext cx="8234254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64310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260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860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25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2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24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40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739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99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52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40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96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59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05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902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0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30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7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45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0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030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6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15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04831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27488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75517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06252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59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7753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79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44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01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275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892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689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23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6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73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4036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3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47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02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74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941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48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4294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17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05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83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5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27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02363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3281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757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95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64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20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49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32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433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3882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88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9576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7797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97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29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15129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3ED32359-97E4-713E-6F12-B34C1C1457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CA1374DA-2A8D-35C1-1B4C-7534AF410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9CC03C24-F825-553D-981F-37045D409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B3D5C83-4A55-BF2F-27DE-7F696BAA82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6CD62F5C-9DC6-3E60-0AA7-8AC08C77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94441-68C3-4B8D-8DEA-CCB3BE60D60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560335024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12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98351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10948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47804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44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44481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429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497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432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258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595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373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3760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195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423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91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44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490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652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43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9939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9531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2308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4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010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94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92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73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0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9F5EF9-C970-83F5-5955-E7658BB8BEE1}"/>
              </a:ext>
            </a:extLst>
          </p:cNvPr>
          <p:cNvSpPr/>
          <p:nvPr userDrawn="1"/>
        </p:nvSpPr>
        <p:spPr>
          <a:xfrm>
            <a:off x="0" y="1"/>
            <a:ext cx="4088019" cy="6857999"/>
          </a:xfrm>
          <a:prstGeom prst="rect">
            <a:avLst/>
          </a:prstGeom>
          <a:gradFill>
            <a:gsLst>
              <a:gs pos="0">
                <a:srgbClr val="108443"/>
              </a:gs>
              <a:gs pos="41317">
                <a:srgbClr val="215C60"/>
              </a:gs>
              <a:gs pos="79000">
                <a:srgbClr val="1E394C"/>
              </a:gs>
              <a:gs pos="100000">
                <a:srgbClr val="162835"/>
              </a:gs>
            </a:gsLst>
            <a:lin ang="2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>
              <a:solidFill>
                <a:srgbClr val="FFFFFF"/>
              </a:solidFill>
              <a:latin typeface="Teva Sans Light"/>
              <a:ea typeface="+mj-ea"/>
              <a:cs typeface="+mj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48362" y="0"/>
            <a:ext cx="8234254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314039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848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672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06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34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68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624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22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6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45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15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8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68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8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9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18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06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3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13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42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856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034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0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8413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2573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937567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7589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26302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13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16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45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945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285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68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66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4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8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93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13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04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05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9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0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902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6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18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2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059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9623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209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58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11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6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13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52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23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48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85952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88336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0946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13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78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097433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BBA72AF-A9A4-CF4C-8122-2B25411CB9F4}"/>
              </a:ext>
            </a:extLst>
          </p:cNvPr>
          <p:cNvSpPr/>
          <p:nvPr userDrawn="1"/>
        </p:nvSpPr>
        <p:spPr>
          <a:xfrm>
            <a:off x="-1" y="6241572"/>
            <a:ext cx="12192001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A015B60-1D25-B4FC-B1E5-D22686AC14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9876" y="1030804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3BE94F0-CB0E-8DAC-57E6-DF203028D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6759" y="1030804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EE4E19F-EC9E-07D4-EE96-0780527085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079876" y="1762295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ABDBC55-226F-2EFC-6806-D50210932B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96759" y="1762295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8E08514-571F-051F-4952-323AB45657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079876" y="2475084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4AC551B-3B1D-45DE-29E8-4FB1294A1E7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6759" y="2475084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59A6274-3E33-6782-1984-9E0AD8B748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76" y="3219275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5936A3D-6834-3734-2392-D77D5AAB748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96759" y="3219275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E93940B-CADB-BDCF-B3F7-262E284436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9876" y="3957486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A302A556-8755-6CF0-3A0D-0CCF0E6E88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96759" y="3957486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631C2F7D-2DEA-56CA-F612-113BCB33D26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079876" y="4695327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678020F2-27E0-000C-A95A-4FCF4776BF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796759" y="4695327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CAAB7E3-8E60-5304-03E6-043CB353072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079876" y="5423744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0C9CC6B-A6C4-1796-CF05-04D41A9B9AA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796759" y="5423744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AF695F-A6F4-141E-67B6-6DEB373C25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1943100"/>
            <a:ext cx="2157413" cy="2802118"/>
          </a:xfrm>
        </p:spPr>
        <p:txBody>
          <a:bodyPr anchor="ctr">
            <a:norm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42429DB-935A-4443-D088-27402EAF77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rmAutofit/>
          </a:bodyPr>
          <a:lstStyle/>
          <a:p>
            <a:fld id="{C2832ACA-4727-4D4C-ACEE-24DD06899962}" type="slidenum">
              <a:rPr lang="en-US" smtClean="0"/>
              <a:pPr/>
              <a:t>‹#›</a:t>
            </a:fld>
            <a:r>
              <a:rPr lang="en-US"/>
              <a:t> |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12CB6604-CFDC-FDB0-6418-608126B514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2419" y="6429375"/>
            <a:ext cx="716939" cy="250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C1384-D9C1-2188-CD1E-D47C50C57CDC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4294240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21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96867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98311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675809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21086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565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193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2310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725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261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36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4231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407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5604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7356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1993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125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0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168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27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38972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83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51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968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40843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67522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102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56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390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9F5EF9-C970-83F5-5955-E7658BB8BEE1}"/>
              </a:ext>
            </a:extLst>
          </p:cNvPr>
          <p:cNvSpPr/>
          <p:nvPr userDrawn="1"/>
        </p:nvSpPr>
        <p:spPr>
          <a:xfrm>
            <a:off x="0" y="1"/>
            <a:ext cx="4088019" cy="6857999"/>
          </a:xfrm>
          <a:prstGeom prst="rect">
            <a:avLst/>
          </a:prstGeom>
          <a:gradFill>
            <a:gsLst>
              <a:gs pos="0">
                <a:srgbClr val="108443"/>
              </a:gs>
              <a:gs pos="41317">
                <a:srgbClr val="215C60"/>
              </a:gs>
              <a:gs pos="79000">
                <a:srgbClr val="1E394C"/>
              </a:gs>
              <a:gs pos="100000">
                <a:srgbClr val="162835"/>
              </a:gs>
            </a:gsLst>
            <a:lin ang="2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>
              <a:solidFill>
                <a:srgbClr val="FFFFFF"/>
              </a:solidFill>
              <a:latin typeface="Teva Sans Light"/>
              <a:ea typeface="+mj-ea"/>
              <a:cs typeface="+mj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48362" y="0"/>
            <a:ext cx="8234254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48339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04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77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28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9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93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42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05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403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22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39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1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44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0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9490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080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5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86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34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37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19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977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274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6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4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445902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02070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96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0455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75796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60070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89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66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86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17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398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560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63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75441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2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71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96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12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3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17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26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5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0193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6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31731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43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0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70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0712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9547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757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68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830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65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35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757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7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58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124443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86208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49794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49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71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577179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2" name="Rectangle 3"/>
          <p:cNvSpPr/>
          <p:nvPr/>
        </p:nvSpPr>
        <p:spPr>
          <a:xfrm>
            <a:off x="-3" y="6237287"/>
            <a:ext cx="12192002" cy="620714"/>
          </a:xfrm>
          <a:prstGeom prst="rect">
            <a:avLst/>
          </a:prstGeom>
          <a:gradFill>
            <a:gsLst>
              <a:gs pos="0">
                <a:srgbClr val="FFFFFF">
                  <a:alpha val="50000"/>
                </a:srgbClr>
              </a:gs>
              <a:gs pos="100000">
                <a:srgbClr val="FFFFFF"/>
              </a:gs>
            </a:gsLst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spc="0">
                <a:solidFill>
                  <a:srgbClr val="FFFFFF"/>
                </a:solidFill>
                <a:latin typeface="Teva Sans Light"/>
                <a:ea typeface="Teva Sans Light"/>
                <a:cs typeface="Teva Sans Light"/>
                <a:sym typeface="Teva Sans Light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 Light"/>
              <a:sym typeface="Teva Sans Light"/>
            </a:endParaRPr>
          </a:p>
        </p:txBody>
      </p:sp>
      <p:sp>
        <p:nvSpPr>
          <p:cNvPr id="1583" name="Title Text"/>
          <p:cNvSpPr txBox="1">
            <a:spLocks noGrp="1"/>
          </p:cNvSpPr>
          <p:nvPr>
            <p:ph type="title"/>
          </p:nvPr>
        </p:nvSpPr>
        <p:spPr>
          <a:xfrm>
            <a:off x="623888" y="342900"/>
            <a:ext cx="10945471" cy="10731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ctr" defTabSz="914400">
              <a:lnSpc>
                <a:spcPct val="90000"/>
              </a:lnSpc>
              <a:defRPr sz="4000" b="0">
                <a:gradFill flip="none" rotWithShape="1">
                  <a:gsLst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uFillTx/>
                <a:latin typeface="Teva Sans Light"/>
                <a:ea typeface="Teva Sans Light"/>
                <a:cs typeface="Teva Sans Light"/>
                <a:sym typeface="Teva Sans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58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2642" y="6494705"/>
            <a:ext cx="179536" cy="184666"/>
          </a:xfrm>
          <a:prstGeom prst="rect">
            <a:avLst/>
          </a:prstGeom>
          <a:ln>
            <a:miter lim="400000"/>
          </a:ln>
        </p:spPr>
        <p:txBody>
          <a:bodyPr lIns="0" tIns="0" rIns="0" bIns="0"/>
          <a:lstStyle>
            <a:lvl1pPr algn="l" defTabSz="609523">
              <a:buClrTx/>
              <a:defRPr sz="1200">
                <a:solidFill>
                  <a:srgbClr val="3F3E3E"/>
                </a:solidFill>
                <a:uFillTx/>
                <a:latin typeface="Teva Sans Light"/>
                <a:ea typeface="Teva Sans Light"/>
                <a:cs typeface="Teva Sans Light"/>
                <a:sym typeface="Teva Sans Light"/>
              </a:defRPr>
            </a:lvl1pPr>
          </a:lstStyle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eva Sans Light"/>
                <a:sym typeface="Teva Sans Light"/>
              </a:rPr>
              <a:pPr marL="0" marR="0" lvl="0" indent="0" algn="l" defTabSz="6095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eva Sans Light"/>
              <a:sym typeface="Teva Sans Light"/>
            </a:endParaRPr>
          </a:p>
        </p:txBody>
      </p:sp>
      <p:pic>
        <p:nvPicPr>
          <p:cNvPr id="1585" name="Graphic 7" descr="Graphic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46119" y="6530975"/>
            <a:ext cx="716940" cy="2508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82476801"/>
      </p:ext>
    </p:extLst>
  </p:cSld>
  <p:clrMapOvr>
    <a:masterClrMapping/>
  </p:clrMapOvr>
  <p:transition spd="med"/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24000">
              <a:schemeClr val="tx2"/>
            </a:gs>
            <a:gs pos="95000">
              <a:schemeClr val="accent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0AF7206-B56F-F1A4-0C27-916F46F6EA01}"/>
              </a:ext>
            </a:extLst>
          </p:cNvPr>
          <p:cNvGrpSpPr/>
          <p:nvPr userDrawn="1"/>
        </p:nvGrpSpPr>
        <p:grpSpPr>
          <a:xfrm>
            <a:off x="-925941" y="-178214"/>
            <a:ext cx="5045725" cy="5045725"/>
            <a:chOff x="5431316" y="2087697"/>
            <a:chExt cx="5045725" cy="504572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8F9C824A-387E-784B-690C-0F6D77806208}"/>
                </a:ext>
              </a:extLst>
            </p:cNvPr>
            <p:cNvSpPr/>
            <p:nvPr userDrawn="1"/>
          </p:nvSpPr>
          <p:spPr>
            <a:xfrm>
              <a:off x="6621137" y="2362665"/>
              <a:ext cx="3542375" cy="354237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2E3F3BEF-DD17-6241-BD32-7512B745CB7A}"/>
                </a:ext>
              </a:extLst>
            </p:cNvPr>
            <p:cNvSpPr/>
            <p:nvPr userDrawn="1"/>
          </p:nvSpPr>
          <p:spPr>
            <a:xfrm>
              <a:off x="5431316" y="2087697"/>
              <a:ext cx="5045725" cy="504572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FC685E3-600C-5619-39BE-20C4AD9E8827}"/>
              </a:ext>
            </a:extLst>
          </p:cNvPr>
          <p:cNvGrpSpPr/>
          <p:nvPr userDrawn="1"/>
        </p:nvGrpSpPr>
        <p:grpSpPr>
          <a:xfrm rot="15352631">
            <a:off x="6884166" y="4417318"/>
            <a:ext cx="3544620" cy="3544620"/>
            <a:chOff x="5431316" y="2087697"/>
            <a:chExt cx="5045725" cy="504572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30030533-84D0-07AE-4D23-898F52ACB4E6}"/>
                </a:ext>
              </a:extLst>
            </p:cNvPr>
            <p:cNvSpPr/>
            <p:nvPr userDrawn="1"/>
          </p:nvSpPr>
          <p:spPr>
            <a:xfrm>
              <a:off x="6621137" y="2362665"/>
              <a:ext cx="3542375" cy="354237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D9A2940-796A-EE01-FCE2-3F1FDF8EFE92}"/>
                </a:ext>
              </a:extLst>
            </p:cNvPr>
            <p:cNvSpPr/>
            <p:nvPr userDrawn="1"/>
          </p:nvSpPr>
          <p:spPr>
            <a:xfrm>
              <a:off x="5431316" y="2087697"/>
              <a:ext cx="5045725" cy="504572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</p:spTree>
    <p:extLst>
      <p:ext uri="{BB962C8B-B14F-4D97-AF65-F5344CB8AC3E}">
        <p14:creationId xmlns:p14="http://schemas.microsoft.com/office/powerpoint/2010/main" val="3687987100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gradFill>
          <a:gsLst>
            <a:gs pos="19000">
              <a:schemeClr val="tx2"/>
            </a:gs>
            <a:gs pos="99000">
              <a:srgbClr val="00AD4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1B689B-2BD2-9BC6-42B3-7F52EDAF24B7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456825E0-C24F-BFBC-2FC5-6395E622A0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AC3B5A48-105A-F3D3-196F-553D32384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07035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772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gradFill flip="none" rotWithShape="1">
          <a:gsLst>
            <a:gs pos="93000">
              <a:srgbClr val="072231"/>
            </a:gs>
            <a:gs pos="62000">
              <a:srgbClr val="003459"/>
            </a:gs>
            <a:gs pos="30000">
              <a:srgbClr val="118145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CAC7557-DF82-F2A3-1C9B-2BE08487FB71}"/>
              </a:ext>
            </a:extLst>
          </p:cNvPr>
          <p:cNvSpPr/>
          <p:nvPr userDrawn="1"/>
        </p:nvSpPr>
        <p:spPr>
          <a:xfrm rot="10800000">
            <a:off x="0" y="0"/>
            <a:ext cx="9223022" cy="68580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22000" t="4000" r="-11000" b="-18000"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I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426BE14-9C5B-D82B-D9B7-2B90C17C7094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0F590921-4624-6C0B-3915-CF982E5B4E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35B954B-CAFD-3995-AE36-338973468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7122875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 flip="none" rotWithShape="1">
          <a:gsLst>
            <a:gs pos="93000">
              <a:srgbClr val="072231"/>
            </a:gs>
            <a:gs pos="62000">
              <a:srgbClr val="003459"/>
            </a:gs>
            <a:gs pos="30000">
              <a:srgbClr val="118145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CAC7557-DF82-F2A3-1C9B-2BE08487FB71}"/>
              </a:ext>
            </a:extLst>
          </p:cNvPr>
          <p:cNvSpPr/>
          <p:nvPr userDrawn="1"/>
        </p:nvSpPr>
        <p:spPr>
          <a:xfrm>
            <a:off x="2968978" y="0"/>
            <a:ext cx="9223022" cy="68580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22000" t="4000" r="-11000" b="-18000"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BFDE91D-11A0-A902-4E83-1FCD93556551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3361E5A0-28FB-AF4F-403E-28B31DB865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AA900AE0-BEB0-897E-0E67-58046EFE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0593356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FE3BDE4-3E5E-6F06-465A-34ABBE1FA1F2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0EC9725-37E9-1F90-D2CF-17F5106053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9C401625-B3D1-1528-982F-AADD2BC18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1530829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CA4ABCA-D517-09DF-8FFA-5FACF1D55C18}"/>
              </a:ext>
            </a:extLst>
          </p:cNvPr>
          <p:cNvGrpSpPr/>
          <p:nvPr userDrawn="1"/>
        </p:nvGrpSpPr>
        <p:grpSpPr>
          <a:xfrm>
            <a:off x="8885804" y="363954"/>
            <a:ext cx="3423120" cy="3423120"/>
            <a:chOff x="5431316" y="2087697"/>
            <a:chExt cx="5045725" cy="504572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333D7134-BEA5-8001-9AD8-9A05CB9C86C5}"/>
                </a:ext>
              </a:extLst>
            </p:cNvPr>
            <p:cNvSpPr/>
            <p:nvPr userDrawn="1"/>
          </p:nvSpPr>
          <p:spPr>
            <a:xfrm>
              <a:off x="6621137" y="2362665"/>
              <a:ext cx="3542375" cy="354237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48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9533EEC-1153-EB3A-78A2-6A26FAA9D971}"/>
                </a:ext>
              </a:extLst>
            </p:cNvPr>
            <p:cNvSpPr/>
            <p:nvPr userDrawn="1"/>
          </p:nvSpPr>
          <p:spPr>
            <a:xfrm>
              <a:off x="5431316" y="2087697"/>
              <a:ext cx="5045725" cy="504572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48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AC98D3-7640-0643-895D-37CE3CB74BA4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DF86B883-F367-2670-50F9-DF0389AFDA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00344B8A-5064-4662-EA15-9DBAB4309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886275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898CAE9-64D3-6585-0798-B7E9A9B30BD1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B105567-F2C2-E8D9-68E5-91ABCEDD10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99DE19C-BA32-F2DC-FCB6-ACC8A5B21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4597234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20EF12B-2E04-8162-0A9A-8E840B9C89BB}"/>
              </a:ext>
            </a:extLst>
          </p:cNvPr>
          <p:cNvGrpSpPr/>
          <p:nvPr userDrawn="1"/>
        </p:nvGrpSpPr>
        <p:grpSpPr>
          <a:xfrm>
            <a:off x="5431316" y="2087697"/>
            <a:ext cx="5045725" cy="5045725"/>
            <a:chOff x="5431316" y="2087697"/>
            <a:chExt cx="5045725" cy="504572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E88AFDA-D217-A03C-C6BB-F8EF0859EEE3}"/>
                </a:ext>
              </a:extLst>
            </p:cNvPr>
            <p:cNvSpPr/>
            <p:nvPr userDrawn="1"/>
          </p:nvSpPr>
          <p:spPr>
            <a:xfrm>
              <a:off x="6621137" y="2362665"/>
              <a:ext cx="3542375" cy="354237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DA69A543-BD69-CEC0-3282-E0D5943454C5}"/>
                </a:ext>
              </a:extLst>
            </p:cNvPr>
            <p:cNvSpPr/>
            <p:nvPr userDrawn="1"/>
          </p:nvSpPr>
          <p:spPr>
            <a:xfrm>
              <a:off x="5431316" y="2087697"/>
              <a:ext cx="5045725" cy="504572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63E7538-89F8-C315-2B28-59B62EF4B281}"/>
              </a:ext>
            </a:extLst>
          </p:cNvPr>
          <p:cNvGrpSpPr/>
          <p:nvPr userDrawn="1"/>
        </p:nvGrpSpPr>
        <p:grpSpPr>
          <a:xfrm rot="17002173">
            <a:off x="-142348" y="84924"/>
            <a:ext cx="2482281" cy="2482281"/>
            <a:chOff x="5431316" y="2087697"/>
            <a:chExt cx="5045725" cy="504572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2019444-A91B-5F34-949E-E824FFC01888}"/>
                </a:ext>
              </a:extLst>
            </p:cNvPr>
            <p:cNvSpPr/>
            <p:nvPr userDrawn="1"/>
          </p:nvSpPr>
          <p:spPr>
            <a:xfrm>
              <a:off x="6621137" y="2362665"/>
              <a:ext cx="3542375" cy="3542375"/>
            </a:xfrm>
            <a:prstGeom prst="ellipse">
              <a:avLst/>
            </a:prstGeom>
            <a:noFill/>
            <a:ln w="6350">
              <a:solidFill>
                <a:schemeClr val="accent5">
                  <a:alpha val="66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BC094E4-E20B-AFDE-F7F0-28D26896885D}"/>
                </a:ext>
              </a:extLst>
            </p:cNvPr>
            <p:cNvSpPr/>
            <p:nvPr userDrawn="1"/>
          </p:nvSpPr>
          <p:spPr>
            <a:xfrm>
              <a:off x="5431316" y="2087697"/>
              <a:ext cx="5045725" cy="5045725"/>
            </a:xfrm>
            <a:prstGeom prst="ellipse">
              <a:avLst/>
            </a:prstGeom>
            <a:noFill/>
            <a:ln w="6350">
              <a:solidFill>
                <a:schemeClr val="accent5">
                  <a:alpha val="66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</p:spTree>
    <p:extLst>
      <p:ext uri="{BB962C8B-B14F-4D97-AF65-F5344CB8AC3E}">
        <p14:creationId xmlns:p14="http://schemas.microsoft.com/office/powerpoint/2010/main" val="2398565284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F2E55FA-5A6C-712B-584A-85DF14C2C97A}"/>
              </a:ext>
            </a:extLst>
          </p:cNvPr>
          <p:cNvGrpSpPr/>
          <p:nvPr userDrawn="1"/>
        </p:nvGrpSpPr>
        <p:grpSpPr>
          <a:xfrm>
            <a:off x="-592833" y="334634"/>
            <a:ext cx="5045725" cy="5045725"/>
            <a:chOff x="5431316" y="2087697"/>
            <a:chExt cx="5045725" cy="504572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ADD09E7-DE73-DFFE-E77C-C0CDC65351D6}"/>
                </a:ext>
              </a:extLst>
            </p:cNvPr>
            <p:cNvSpPr/>
            <p:nvPr userDrawn="1"/>
          </p:nvSpPr>
          <p:spPr>
            <a:xfrm>
              <a:off x="6621137" y="2362665"/>
              <a:ext cx="3542375" cy="354237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39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422B2086-A6F4-A4F9-D614-B9836264590F}"/>
                </a:ext>
              </a:extLst>
            </p:cNvPr>
            <p:cNvSpPr/>
            <p:nvPr userDrawn="1"/>
          </p:nvSpPr>
          <p:spPr>
            <a:xfrm>
              <a:off x="5431316" y="2087697"/>
              <a:ext cx="5045725" cy="5045725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39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3E1A980-0998-E7C8-9A83-3FD7E4AB24A8}"/>
              </a:ext>
            </a:extLst>
          </p:cNvPr>
          <p:cNvGrpSpPr/>
          <p:nvPr userDrawn="1"/>
        </p:nvGrpSpPr>
        <p:grpSpPr>
          <a:xfrm rot="4995035">
            <a:off x="9232880" y="-125282"/>
            <a:ext cx="2482281" cy="2482281"/>
            <a:chOff x="5431316" y="2087697"/>
            <a:chExt cx="5045725" cy="504572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AB0DC75-1A46-7364-2032-A5608F4307B8}"/>
                </a:ext>
              </a:extLst>
            </p:cNvPr>
            <p:cNvSpPr/>
            <p:nvPr userDrawn="1"/>
          </p:nvSpPr>
          <p:spPr>
            <a:xfrm>
              <a:off x="6621137" y="2362665"/>
              <a:ext cx="3542375" cy="3542375"/>
            </a:xfrm>
            <a:prstGeom prst="ellipse">
              <a:avLst/>
            </a:prstGeom>
            <a:noFill/>
            <a:ln w="6350">
              <a:solidFill>
                <a:schemeClr val="accent6">
                  <a:lumMod val="50000"/>
                  <a:lumOff val="50000"/>
                  <a:alpha val="87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0" eaLnBrk="1" latinLnBrk="0" hangingPunct="1"/>
              <a:endParaRPr lang="en-IL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FD21F0-3873-7293-78CC-A54F9A51CBBF}"/>
                </a:ext>
              </a:extLst>
            </p:cNvPr>
            <p:cNvSpPr/>
            <p:nvPr userDrawn="1"/>
          </p:nvSpPr>
          <p:spPr>
            <a:xfrm>
              <a:off x="5431316" y="2087697"/>
              <a:ext cx="5045725" cy="5045725"/>
            </a:xfrm>
            <a:prstGeom prst="ellipse">
              <a:avLst/>
            </a:prstGeom>
            <a:noFill/>
            <a:ln w="6350">
              <a:solidFill>
                <a:schemeClr val="accent6">
                  <a:lumMod val="50000"/>
                  <a:lumOff val="50000"/>
                  <a:alpha val="87000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</p:spTree>
    <p:extLst>
      <p:ext uri="{BB962C8B-B14F-4D97-AF65-F5344CB8AC3E}">
        <p14:creationId xmlns:p14="http://schemas.microsoft.com/office/powerpoint/2010/main" val="716659496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2E88AFDA-D217-A03C-C6BB-F8EF0859EEE3}"/>
              </a:ext>
            </a:extLst>
          </p:cNvPr>
          <p:cNvSpPr/>
          <p:nvPr userDrawn="1"/>
        </p:nvSpPr>
        <p:spPr>
          <a:xfrm>
            <a:off x="6621137" y="2362665"/>
            <a:ext cx="3542375" cy="3542375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66349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IL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A69A543-BD69-CEC0-3282-E0D5943454C5}"/>
              </a:ext>
            </a:extLst>
          </p:cNvPr>
          <p:cNvSpPr/>
          <p:nvPr userDrawn="1"/>
        </p:nvSpPr>
        <p:spPr>
          <a:xfrm>
            <a:off x="5431316" y="2087697"/>
            <a:ext cx="5045725" cy="5045725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66349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I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4DE3954-6D63-C317-1B7B-520643E4363C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B9F9A94A-33F0-74A4-430E-97BF1EEB6C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5ACCD78-B649-4239-8184-51234E3BB8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804192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B31886-3FB5-765C-17FB-D967770453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3000">
                <a:srgbClr val="06212E"/>
              </a:gs>
              <a:gs pos="86000">
                <a:schemeClr val="tx2">
                  <a:alpha val="21000"/>
                </a:schemeClr>
              </a:gs>
            </a:gsLst>
            <a:lin ang="18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6AD1307-BADD-E0DB-7ED1-7DB97C172577}"/>
              </a:ext>
            </a:extLst>
          </p:cNvPr>
          <p:cNvGrpSpPr/>
          <p:nvPr userDrawn="1"/>
        </p:nvGrpSpPr>
        <p:grpSpPr>
          <a:xfrm>
            <a:off x="3099249" y="4654839"/>
            <a:ext cx="2779575" cy="2779575"/>
            <a:chOff x="4029848" y="2911622"/>
            <a:chExt cx="3560761" cy="356076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5CDB071-1D92-45FE-F0D0-36D8A849F79D}"/>
                </a:ext>
              </a:extLst>
            </p:cNvPr>
            <p:cNvSpPr/>
            <p:nvPr/>
          </p:nvSpPr>
          <p:spPr>
            <a:xfrm>
              <a:off x="4918580" y="3429000"/>
              <a:ext cx="2499849" cy="2499849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8CDEC74-A546-83B0-E012-4F4E4983FDB2}"/>
                </a:ext>
              </a:extLst>
            </p:cNvPr>
            <p:cNvSpPr/>
            <p:nvPr/>
          </p:nvSpPr>
          <p:spPr>
            <a:xfrm>
              <a:off x="4029848" y="2911622"/>
              <a:ext cx="3560761" cy="3560761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4EBEFF3-7578-F9A4-8FF5-AB491028E3D8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3C32970-C6F7-EBF0-5E0A-A89CBB6AC6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A685A5A0-9FA9-A25A-F8D4-E8E83BB21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4507473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61E79A24-76D6-9171-8B9D-4DB57E4EEAD7}"/>
              </a:ext>
            </a:extLst>
          </p:cNvPr>
          <p:cNvSpPr/>
          <p:nvPr userDrawn="1"/>
        </p:nvSpPr>
        <p:spPr>
          <a:xfrm>
            <a:off x="7401009" y="2911622"/>
            <a:ext cx="3560761" cy="3560761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66349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42845E-9866-2C85-1521-FCD8C814123D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E50DCEF2-56C4-8626-A05D-0FC3D405EA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8A7B1BCE-68B1-5AA1-5824-BD7B490950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01066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42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61E79A24-76D6-9171-8B9D-4DB57E4EEAD7}"/>
              </a:ext>
            </a:extLst>
          </p:cNvPr>
          <p:cNvSpPr/>
          <p:nvPr userDrawn="1"/>
        </p:nvSpPr>
        <p:spPr>
          <a:xfrm>
            <a:off x="7401009" y="2911622"/>
            <a:ext cx="3560761" cy="3560761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66349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6AD1307-BADD-E0DB-7ED1-7DB97C172577}"/>
              </a:ext>
            </a:extLst>
          </p:cNvPr>
          <p:cNvGrpSpPr/>
          <p:nvPr userDrawn="1"/>
        </p:nvGrpSpPr>
        <p:grpSpPr>
          <a:xfrm>
            <a:off x="-321573" y="-224658"/>
            <a:ext cx="5350734" cy="5350734"/>
            <a:chOff x="4029848" y="2911622"/>
            <a:chExt cx="3560761" cy="356076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5CDB071-1D92-45FE-F0D0-36D8A849F79D}"/>
                </a:ext>
              </a:extLst>
            </p:cNvPr>
            <p:cNvSpPr/>
            <p:nvPr/>
          </p:nvSpPr>
          <p:spPr>
            <a:xfrm>
              <a:off x="4918580" y="3429000"/>
              <a:ext cx="2499849" cy="2499849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8CDEC74-A546-83B0-E012-4F4E4983FDB2}"/>
                </a:ext>
              </a:extLst>
            </p:cNvPr>
            <p:cNvSpPr/>
            <p:nvPr/>
          </p:nvSpPr>
          <p:spPr>
            <a:xfrm>
              <a:off x="4029848" y="2911622"/>
              <a:ext cx="3560761" cy="3560761"/>
            </a:xfrm>
            <a:prstGeom prst="ellipse">
              <a:avLst/>
            </a:prstGeom>
            <a:noFill/>
            <a:ln w="6350">
              <a:solidFill>
                <a:schemeClr val="accent2">
                  <a:lumMod val="20000"/>
                  <a:lumOff val="80000"/>
                  <a:alpha val="66349"/>
                </a:schemeClr>
              </a:solidFill>
              <a:prstDash val="dash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I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6C23B4A-C5C5-054C-A8D1-48F2981B6B20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D1DF4BE6-CB3A-177A-25A8-477BE76200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8A3EA4AD-3EAB-BDCE-B9AB-DB77B9241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097950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6E98661-A8B1-E9C2-BE0D-AD575E7F531A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D0143483-2DE9-6365-D05C-2D0F029756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8C59889-AB60-F202-A2B1-03DD0932DD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506618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2D9E165-314C-BF6E-4B61-D48CDE8E9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2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1E79A24-76D6-9171-8B9D-4DB57E4EEAD7}"/>
              </a:ext>
            </a:extLst>
          </p:cNvPr>
          <p:cNvSpPr/>
          <p:nvPr userDrawn="1"/>
        </p:nvSpPr>
        <p:spPr>
          <a:xfrm>
            <a:off x="7401009" y="2911622"/>
            <a:ext cx="3560761" cy="3560761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66349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1A067B-A662-7CBF-4DA7-1105D6974A37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69BC440E-5A36-2890-801B-A4F12A6B2B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89C4D06F-8281-756D-0DA1-6F477CCC1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76127132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61E79A24-76D6-9171-8B9D-4DB57E4EEAD7}"/>
              </a:ext>
            </a:extLst>
          </p:cNvPr>
          <p:cNvSpPr/>
          <p:nvPr userDrawn="1"/>
        </p:nvSpPr>
        <p:spPr>
          <a:xfrm>
            <a:off x="7401009" y="2911622"/>
            <a:ext cx="3560761" cy="3560761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66349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8CE88CA-32CC-6005-C86C-7623037F7DEC}"/>
              </a:ext>
            </a:extLst>
          </p:cNvPr>
          <p:cNvGrpSpPr/>
          <p:nvPr userDrawn="1"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5AE11073-BAE8-E963-88F6-A4FC4F1512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CB36F85-CD33-EC45-19CB-644239A199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9000220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796A5F0D-0177-5366-BD5F-64FBD9354E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2577" y="6421659"/>
            <a:ext cx="656892" cy="15743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B201CE1-2333-F21B-0F30-71D2E1F8B3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6555" y="63965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  <a:latin typeface="Teva Sans" panose="020B0604030202020203" pitchFamily="34" charset="77"/>
              </a:defRPr>
            </a:lvl1pPr>
          </a:lstStyle>
          <a:p>
            <a:fld id="{C1FF6DA9-008F-8B48-92A6-B652298478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952640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862398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654196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203442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886983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9508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89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12086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42932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ey slide with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0BFA330-E8E8-349A-D302-BB81B26AB4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rmAutofit/>
          </a:bodyPr>
          <a:lstStyle/>
          <a:p>
            <a:fld id="{C2832ACA-4727-4D4C-ACEE-24DD06899962}" type="slidenum">
              <a:rPr lang="en-US" noProof="0" smtClean="0"/>
              <a:pPr/>
              <a:t>‹#›</a:t>
            </a:fld>
            <a:r>
              <a:rPr lang="en-US" noProof="0"/>
              <a:t> |</a:t>
            </a:r>
          </a:p>
        </p:txBody>
      </p:sp>
      <p:sp>
        <p:nvSpPr>
          <p:cNvPr id="55" name="Titel 1">
            <a:extLst>
              <a:ext uri="{FF2B5EF4-FFF2-40B4-BE49-F238E27FC236}">
                <a16:creationId xmlns:a16="http://schemas.microsoft.com/office/drawing/2014/main" id="{6D87375D-5AB8-50BD-0CEF-52B82E099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342900"/>
            <a:ext cx="11506200" cy="1008228"/>
          </a:xfrm>
        </p:spPr>
        <p:txBody>
          <a:bodyPr>
            <a:normAutofit/>
          </a:bodyPr>
          <a:lstStyle>
            <a:lvl1pPr rtl="0"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FCECA6-06B7-0453-3C68-0EFDB6FC0687}"/>
              </a:ext>
            </a:extLst>
          </p:cNvPr>
          <p:cNvSpPr txBox="1"/>
          <p:nvPr userDrawn="1"/>
        </p:nvSpPr>
        <p:spPr>
          <a:xfrm>
            <a:off x="1626919" y="-510639"/>
            <a:ext cx="0" cy="0"/>
          </a:xfrm>
          <a:prstGeom prst="rect">
            <a:avLst/>
          </a:prstGeom>
        </p:spPr>
        <p:txBody>
          <a:bodyPr wrap="none" rtlCol="0" anchor="t">
            <a:normAutofit fontScale="25000" lnSpcReduction="20000"/>
          </a:bodyPr>
          <a:lstStyle/>
          <a:p>
            <a:pPr algn="l"/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1D918A-8CBE-6280-429B-F47B13AA1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410768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37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88491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91314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9080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42790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619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867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3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30533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493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9401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202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155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7936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532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092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389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4765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17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63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8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7461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142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9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78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8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7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9F5EF9-C970-83F5-5955-E7658BB8BEE1}"/>
              </a:ext>
            </a:extLst>
          </p:cNvPr>
          <p:cNvSpPr/>
          <p:nvPr userDrawn="1"/>
        </p:nvSpPr>
        <p:spPr>
          <a:xfrm>
            <a:off x="0" y="1"/>
            <a:ext cx="4088019" cy="6857999"/>
          </a:xfrm>
          <a:prstGeom prst="rect">
            <a:avLst/>
          </a:prstGeom>
          <a:gradFill>
            <a:gsLst>
              <a:gs pos="0">
                <a:srgbClr val="108443"/>
              </a:gs>
              <a:gs pos="41317">
                <a:srgbClr val="215C60"/>
              </a:gs>
              <a:gs pos="79000">
                <a:srgbClr val="1E394C"/>
              </a:gs>
              <a:gs pos="100000">
                <a:srgbClr val="162835"/>
              </a:gs>
            </a:gsLst>
            <a:lin ang="2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>
              <a:solidFill>
                <a:srgbClr val="FFFFFF"/>
              </a:solidFill>
              <a:latin typeface="Teva Sans Light"/>
              <a:ea typeface="+mj-ea"/>
              <a:cs typeface="+mj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48362" y="0"/>
            <a:ext cx="8234254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04647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3829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83151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69204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78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13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14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46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64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81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7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42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32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61466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65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12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09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61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54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56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6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100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0682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32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6544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4878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2641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98806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2188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9116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78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12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24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883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537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990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60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87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2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78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7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08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67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90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26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7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81392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87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975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17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55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24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511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52197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99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637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8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28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2394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856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15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3390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4103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51321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94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22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368040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BBA72AF-A9A4-CF4C-8122-2B25411CB9F4}"/>
              </a:ext>
            </a:extLst>
          </p:cNvPr>
          <p:cNvSpPr/>
          <p:nvPr userDrawn="1"/>
        </p:nvSpPr>
        <p:spPr>
          <a:xfrm>
            <a:off x="-1" y="6241572"/>
            <a:ext cx="12192001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A015B60-1D25-B4FC-B1E5-D22686AC14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9876" y="1030804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3BE94F0-CB0E-8DAC-57E6-DF203028D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6759" y="1030804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EE4E19F-EC9E-07D4-EE96-0780527085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079876" y="1762295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ABDBC55-226F-2EFC-6806-D50210932B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96759" y="1762295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8E08514-571F-051F-4952-323AB45657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079876" y="2475084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4AC551B-3B1D-45DE-29E8-4FB1294A1E7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6759" y="2475084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59A6274-3E33-6782-1984-9E0AD8B748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76" y="3219275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5936A3D-6834-3734-2392-D77D5AAB748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96759" y="3219275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E93940B-CADB-BDCF-B3F7-262E284436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9876" y="3957486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A302A556-8755-6CF0-3A0D-0CCF0E6E88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96759" y="3957486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631C2F7D-2DEA-56CA-F612-113BCB33D26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079876" y="4695327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678020F2-27E0-000C-A95A-4FCF4776BF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796759" y="4695327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CAAB7E3-8E60-5304-03E6-043CB353072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079876" y="5423744"/>
            <a:ext cx="622754" cy="366712"/>
          </a:xfrm>
          <a:prstGeom prst="rect">
            <a:avLst/>
          </a:prstGeom>
        </p:spPr>
        <p:txBody>
          <a:bodyPr>
            <a:no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  <a:latin typeface="Teva Sans" panose="020B060403020202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0C9CC6B-A6C4-1796-CF05-04D41A9B9AA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796759" y="5423744"/>
            <a:ext cx="6771353" cy="366712"/>
          </a:xfrm>
          <a:prstGeom prst="rect">
            <a:avLst/>
          </a:prstGeom>
        </p:spPr>
        <p:txBody>
          <a:bodyPr>
            <a:normAutofit/>
          </a:bodyPr>
          <a:lstStyle>
            <a:lvl1pPr marL="9525" indent="0" algn="l">
              <a:lnSpc>
                <a:spcPct val="114000"/>
              </a:lnSpc>
              <a:spcBef>
                <a:spcPts val="0"/>
              </a:spcBef>
              <a:buNone/>
              <a:defRPr sz="2300" b="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AF695F-A6F4-141E-67B6-6DEB373C25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1943100"/>
            <a:ext cx="2157413" cy="2802118"/>
          </a:xfrm>
        </p:spPr>
        <p:txBody>
          <a:bodyPr anchor="ctr">
            <a:norm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42429DB-935A-4443-D088-27402EAF77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rmAutofit/>
          </a:bodyPr>
          <a:lstStyle/>
          <a:p>
            <a:fld id="{C2832ACA-4727-4D4C-ACEE-24DD06899962}" type="slidenum">
              <a:rPr lang="en-US" smtClean="0"/>
              <a:pPr/>
              <a:t>‹#›</a:t>
            </a:fld>
            <a:r>
              <a:rPr lang="en-US"/>
              <a:t> |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12CB6604-CFDC-FDB0-6418-608126B514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2419" y="6429375"/>
            <a:ext cx="716939" cy="250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C1384-D9C1-2188-CD1E-D47C50C57CDC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320649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35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5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9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71769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709972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64868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7813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457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723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06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18257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36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2572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131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F8D39B-C1E3-452B-A9CD-DA98F754D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D39B-C1E3-452B-A9CD-DA98F754D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6872E3-FA96-41EC-9984-361FCAA513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E8BA73C-65CF-4D43-813A-92E20F6AD8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84698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436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2670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367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692AAC1-285B-E244-B3D6-2A733A566682}"/>
              </a:ext>
            </a:extLst>
          </p:cNvPr>
          <p:cNvSpPr/>
          <p:nvPr userDrawn="1"/>
        </p:nvSpPr>
        <p:spPr>
          <a:xfrm>
            <a:off x="3873500" y="1095005"/>
            <a:ext cx="3341786" cy="4472934"/>
          </a:xfrm>
          <a:prstGeom prst="roundRect">
            <a:avLst>
              <a:gd name="adj" fmla="val 1616"/>
            </a:avLst>
          </a:prstGeom>
          <a:gradFill>
            <a:gsLst>
              <a:gs pos="42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rgbClr val="FFFFFF">
                  <a:lumMod val="0"/>
                  <a:lumOff val="100000"/>
                  <a:alpha val="5000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E378B-9D4A-7545-B23B-9250D68E1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3841" y="1175984"/>
            <a:ext cx="3453448" cy="4472934"/>
          </a:xfrm>
          <a:prstGeom prst="rect">
            <a:avLst/>
          </a:prstGeom>
        </p:spPr>
        <p:txBody>
          <a:bodyPr/>
          <a:lstStyle>
            <a:lvl1pPr marL="693738" indent="-685800" algn="ctr">
              <a:tabLst/>
              <a:defRPr kumimoji="0" lang="en-GB" sz="4500" b="1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 algn="ctr">
              <a:buNone/>
              <a:tabLst/>
              <a:defRPr kumimoji="0" lang="en-GB" sz="3800" b="0" i="0" u="none" strike="noStrike" kern="1200" cap="none" spc="0" normalizeH="0" baseline="0" dirty="0">
                <a:ln>
                  <a:noFill/>
                </a:ln>
                <a:gradFill>
                  <a:gsLst>
                    <a:gs pos="42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ctr">
              <a:spcBef>
                <a:spcPts val="600"/>
              </a:spcBef>
              <a:spcAft>
                <a:spcPts val="600"/>
              </a:spcAft>
              <a:buNone/>
              <a:tabLst/>
              <a:defRPr kumimoji="0" lang="en-GB" sz="13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defRPr>
            </a:lvl4pPr>
            <a:lvl5pPr marL="7938" indent="0" algn="ctr">
              <a:tabLst/>
              <a:defRPr/>
            </a:lvl5pPr>
          </a:lstStyle>
          <a:p>
            <a:pPr marL="7938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marL="7938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Fourth level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287335-025E-A24C-BA88-3C5DC3C492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161" y="593216"/>
            <a:ext cx="4959555" cy="5544098"/>
          </a:xfrm>
          <a:custGeom>
            <a:avLst/>
            <a:gdLst>
              <a:gd name="connsiteX0" fmla="*/ 0 w 4959555"/>
              <a:gd name="connsiteY0" fmla="*/ 0 h 5544098"/>
              <a:gd name="connsiteX1" fmla="*/ 4959555 w 4959555"/>
              <a:gd name="connsiteY1" fmla="*/ 0 h 5544098"/>
              <a:gd name="connsiteX2" fmla="*/ 4959555 w 4959555"/>
              <a:gd name="connsiteY2" fmla="*/ 501789 h 5544098"/>
              <a:gd name="connsiteX3" fmla="*/ 3918252 w 4959555"/>
              <a:gd name="connsiteY3" fmla="*/ 501789 h 5544098"/>
              <a:gd name="connsiteX4" fmla="*/ 3918252 w 4959555"/>
              <a:gd name="connsiteY4" fmla="*/ 4974724 h 5544098"/>
              <a:gd name="connsiteX5" fmla="*/ 4959555 w 4959555"/>
              <a:gd name="connsiteY5" fmla="*/ 4974724 h 5544098"/>
              <a:gd name="connsiteX6" fmla="*/ 4959555 w 4959555"/>
              <a:gd name="connsiteY6" fmla="*/ 5544098 h 5544098"/>
              <a:gd name="connsiteX7" fmla="*/ 0 w 4959555"/>
              <a:gd name="connsiteY7" fmla="*/ 5544098 h 554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59555" h="5544098">
                <a:moveTo>
                  <a:pt x="0" y="0"/>
                </a:moveTo>
                <a:lnTo>
                  <a:pt x="4959555" y="0"/>
                </a:lnTo>
                <a:lnTo>
                  <a:pt x="4959555" y="501789"/>
                </a:lnTo>
                <a:lnTo>
                  <a:pt x="3918252" y="501789"/>
                </a:lnTo>
                <a:lnTo>
                  <a:pt x="3918252" y="4974724"/>
                </a:lnTo>
                <a:lnTo>
                  <a:pt x="4959555" y="4974724"/>
                </a:lnTo>
                <a:lnTo>
                  <a:pt x="4959555" y="5544098"/>
                </a:lnTo>
                <a:lnTo>
                  <a:pt x="0" y="5544098"/>
                </a:ln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dirty="0"/>
              <a:t>Click on picture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DADB74-B7A2-E642-82A3-174EE2CC8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0756" y="1437190"/>
            <a:ext cx="2476732" cy="38630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5B929-52CE-0B4E-AEB5-383B929AF80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F3B18C8-21FF-4C9B-84B5-596B6D6470E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546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callout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E027E6-2B97-4E6A-9820-4CD7ECAE4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0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027E6-2B97-4E6A-9820-4CD7ECAE4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957608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ext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8171" y="800100"/>
            <a:ext cx="2645725" cy="4710576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4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ts val="4000"/>
              </a:lnSpc>
              <a:spcBef>
                <a:spcPts val="0"/>
              </a:spcBef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695712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6957126" cy="424242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200"/>
              </a:spcBef>
              <a:spcAft>
                <a:spcPts val="1200"/>
              </a:spcAft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07051-4E84-5841-ADBC-CFA41EA6488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F8D4A0A-D4FA-4C9A-9AB4-4558EDA525B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172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E9A6F3-66DF-44BB-A1F4-187195924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27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9A6F3-66DF-44BB-A1F4-187195924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9895758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 dirty="0"/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0BAB3C0-D30F-8842-B821-CA856DA3C4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850211"/>
            <a:ext cx="9895276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8F966-6B58-AE43-A7A4-439D4C0D61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888" y="1567656"/>
            <a:ext cx="9895758" cy="424242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>
                <a:latin typeface="+mj-lt"/>
              </a:defRPr>
            </a:lvl1pPr>
            <a:lvl2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800"/>
            </a:lvl2pPr>
            <a:lvl3pPr marL="136525" indent="-128588">
              <a:spcBef>
                <a:spcPts val="1200"/>
              </a:spcBef>
              <a:spcAft>
                <a:spcPts val="1200"/>
              </a:spcAft>
              <a:tabLst/>
              <a:defRPr sz="1800"/>
            </a:lvl3pPr>
            <a:lvl4pPr marL="7938" indent="0">
              <a:spcBef>
                <a:spcPts val="1200"/>
              </a:spcBef>
              <a:spcAft>
                <a:spcPts val="1200"/>
              </a:spcAft>
              <a:buNone/>
              <a:tabLst/>
              <a:defRPr sz="1600"/>
            </a:lvl4pPr>
            <a:lvl5pPr marL="95250" indent="-87313">
              <a:spcBef>
                <a:spcPts val="1200"/>
              </a:spcBef>
              <a:spcAft>
                <a:spcPts val="1200"/>
              </a:spcAft>
              <a:tabLst/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4030C6-5705-1E41-9779-A0A7D97FA42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1FD0FD5B-18A1-41AA-9779-AA583310111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112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4DCB774-D368-4C49-BCA8-1E55387B2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0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8BB3C-49F0-42CB-9E13-C33F643CF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02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8BB3C-49F0-42CB-9E13-C33F643CF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0AA1E55-4373-4364-99C1-D26C9CCED8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3194DA0A-DB90-4CD7-A25E-F1AAD4AFC31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A34FE-D761-43EA-9C01-CF6F1B8C4D3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92287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AFBBEF-E28C-4E20-8592-00043D0E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AFBBEF-E28C-4E20-8592-00043D0E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6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910EDD-CE2A-463D-9DA2-C40E15BF3D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CFDDCC1-0D9B-4EEE-AEBF-7F60C5EB272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2380A9-94E5-4AC4-A8F1-9375A0BA070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8452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2CF4E3-93D5-4AD6-BFAE-D8F4DD3AC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CF4E3-93D5-4AD6-BFAE-D8F4DD3AC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3888" y="1544274"/>
            <a:ext cx="3452400" cy="1495794"/>
          </a:xfrm>
        </p:spPr>
        <p:txBody>
          <a:bodyPr vert="horz" lIns="0" tIns="0" rIns="0" bIns="0" anchor="b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541EC9D-A797-46A9-AAC2-AF7488205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F400588D-5343-47A8-93FA-270DE437F39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446E-6BD6-426D-836F-5AA8DC0690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19687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E96DE0-0E1E-4FA2-B989-2A75C4906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8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96DE0-0E1E-4FA2-B989-2A75C4906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662FF62-62EC-4727-8E47-AB855F67E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20DA444-76E2-40AF-9210-A8933000ED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21460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EE9B62-4917-443E-97E9-8627FCFF7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2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EE9B62-4917-443E-97E9-8627FCFF7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F1D5301-B32C-40A7-8FCD-C423C5A04B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AF5CBA-7D44-4BCC-8FFF-251AC952F06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3FDD6F1A-E18D-47AC-BF3D-5E9EDB529B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13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C311EC-05AA-4469-9EA4-1E70F479A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53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311EC-05AA-4469-9EA4-1E70F479A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888" y="3680016"/>
            <a:ext cx="115713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37B15-5EB5-46DC-B310-DEB4E18117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1A8727-635C-457C-9FCF-9FE4FDFFC94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535AA-E0B3-4189-BDCA-1F0CEC1CB3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7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E401C-75B8-48D0-AB4A-C6D095155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5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E401C-75B8-48D0-AB4A-C6D095155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1847C337-A8C7-48E8-B474-FF16130F22A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8DA49D-5623-4A06-BFA6-FE14BC5D7E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387956-8E42-427B-85F3-6FADE20735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72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A03B"/>
            </a:gs>
            <a:gs pos="56000">
              <a:srgbClr val="008230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135F88-220B-40B7-81AB-3B36797D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35F88-220B-40B7-81AB-3B36797D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E7BFFD3-8927-4B15-8F44-5B449A4A30F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0450A3-962C-4397-9841-5A84C276D8F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2D738B0-0695-4CA4-9A2D-44F2813C6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87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7A429D-6CD3-4BD9-95B6-58E39482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0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29D-6CD3-4BD9-95B6-58E39482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1BABAD4D-73F4-4721-8F13-54A546F6495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33EC2C-676B-4273-943C-41D6104E6BC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EFB4522-EB03-4FFB-B233-45BCDFC408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094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9A2500-CE96-4FB2-9B8B-A353662DCF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6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9A2500-CE96-4FB2-9B8B-A353662DC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F9C01AF-29DB-4A6C-9CBA-C270666DCFE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9CE759-AA20-4BCC-86C4-D8D17323FE0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EDF5C5-4F63-418E-9D1D-5B78BCD7F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130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A4E2E-BF5F-440D-A6AF-D34574F3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16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A4E2E-BF5F-440D-A6AF-D34574F3F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A960B596-8079-4F02-8956-9AE66D03D78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46D016-E8C7-42A1-BBCB-7E8ED4FB46A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56409A0-4C7D-4395-987D-0DD5568E26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260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33EC9E-948C-4E59-916F-E7120D586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5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33EC9E-948C-4E59-916F-E7120D586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8013AD-377B-44E0-A61A-2290AD0BB7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lIns="0" tIns="0" rIns="0" bIns="0" anchor="ctr" anchorCtr="0"/>
          <a:lstStyle>
            <a:lvl1pPr>
              <a:defRPr kumimoji="0" lang="en-US" sz="32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R="0" lvl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25763B6-054B-447E-BE72-6043D77CC9F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9E8DBC-6A77-47D7-AC68-8912D8CAE3D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E452F55F-3DA7-4797-9742-554C64B468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6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B7BE0C-2BEE-41A8-A5B3-53E0F353C0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3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7BE0C-2BEE-41A8-A5B3-53E0F353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85ED768-931F-48F9-8324-093DCAB4B8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B55B49-5FAA-4D0E-87DA-07BEB46778F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6A0C9E0-063A-42B6-BF2A-CC80F64CAF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84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56000">
              <a:srgbClr val="008230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481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0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81005074-7672-4D1C-B2DF-BA4042517ED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0FE5B8-8B00-49E2-A720-781075A06C7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7ED013-37E4-4082-AF1F-7393505260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33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1994FE-AE77-42C2-B250-0B0694188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1994FE-AE77-42C2-B250-0B0694188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A1F748-1AF2-40F8-BEC2-6C302621A7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D0E13E0-898F-4205-A41F-99334EBD1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58079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C2F527-302A-4E1D-9D84-4CE5956CD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5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F527-302A-4E1D-9D84-4CE5956CD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6EBE3B3-0635-4585-A397-015239F0390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DC63C3-A9D9-42C7-ACE3-28432FF4AA9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1461D76-6C02-444A-8BD1-696803378D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63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6CD209-3D5F-49A6-B856-74579304E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3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CD209-3D5F-49A6-B856-74579304E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DB3E20D-AD83-4F71-A826-B6B7A769682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4DC0B-9DDB-48A1-9BFD-36B39FAF102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16D5B5-13AD-4F0D-811B-440490D159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77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E72415-0818-46C4-9F8A-119B62FD4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66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72415-0818-46C4-9F8A-119B62FD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4673646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CEB441B-0909-46CF-8D32-36F59ADC6F8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4242E4-55BC-4080-BFBD-4394F73AF41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ED601E9-E928-4DC2-AF95-A395DB9BCD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69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3E7CAB-33F1-4362-8A0C-5649563FF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05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3E7CAB-33F1-4362-8A0C-5649563FF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FB23575-6D76-4797-923E-E37893B32AD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58C33-9065-4CF4-B99A-55BBFE1643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F051879-40B3-4E94-8277-24FCD34C53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3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7DBCFE-3D93-440D-A641-590D28A4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2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7DBCFE-3D93-440D-A641-590D28A4A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6800" cy="54864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BAE86DC-7CA0-439D-906E-484332CE877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30D0D-7B51-464B-B157-3186C5A33CB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F4B2C43-2583-41B2-890A-4B68F6519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11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9C1840-30D7-4868-BD48-312C75427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32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C1840-30D7-4868-BD48-312C7542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6EE61-3381-47A7-9233-0F6CFE31CE3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302BFD-83B5-4F8E-B9AC-6B0DD3C92CF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62D5019-3A9E-4E5D-B8DB-0E90C2B1DF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89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0C4D0C-F107-484A-ACD3-C0EE6E731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3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C4D0C-F107-484A-ACD3-C0EE6E731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lang="en-US" sz="54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big statement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0B7904B-9B52-4E5F-9168-BC95F093A1A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BA05FE-2029-4F2C-9474-6F23C2BC8F2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045CAC0-4D89-422F-A4E0-A39854C1E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76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60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860C1C-9E76-4B22-9CBC-41E5E6DDC67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A9CFA-0951-4592-A500-9861EAFCA52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17A6DE0-A6E5-4E5F-89D8-DB4812FC0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68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77B204-3226-45E6-95B8-50BDB3B5F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6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7B204-3226-45E6-95B8-50BDB3B5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2781A5E-D0C9-48B7-9291-E27C2D76EF10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0714BC-929C-4E65-8713-10DB89E14B9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611163A-9E3C-49EC-B1FA-6EBD4C0182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77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7F309-9263-43FA-A665-286D0AF7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7F309-9263-43FA-A665-286D0AF71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718E484-3DBB-4984-A0CE-D25B2BBFEA0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7CA0A-4811-426B-9867-66E64546283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57DF6C-1ACD-4371-8922-8AA0222DD2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58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781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7C025A-F1E9-4847-93B8-CC5AADF1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89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C025A-F1E9-4847-93B8-CC5AADF1F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5734B3FD-11C2-5B42-BEEB-09BBBF3836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38964" y="518618"/>
            <a:ext cx="2292788" cy="101722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6473E2-1C9C-4AC7-A874-DEB49111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68" y="2824372"/>
            <a:ext cx="5270131" cy="1405984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marL="0" indent="0">
              <a:defRPr lang="en-US" sz="5000" dirty="0">
                <a:solidFill>
                  <a:srgbClr val="FFFFFF"/>
                </a:soli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0EC0C35-379B-467A-B928-DE00EA7130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5868" y="4449771"/>
            <a:ext cx="6519477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1831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06">
          <p15:clr>
            <a:srgbClr val="FBAE40"/>
          </p15:clr>
        </p15:guide>
        <p15:guide id="4" orient="horz" pos="709">
          <p15:clr>
            <a:srgbClr val="FBAE40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0A74E-A1E4-4098-9D76-B2F723E11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0A74E-A1E4-4098-9D76-B2F723E11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D63C3E-DAF5-4090-B018-A36768EEC0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6E95AE-A629-4149-AFDA-A6EB1A501F4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8C80BB8-449B-4FA8-9E2A-4CD58EF98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73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AC8182-694D-476D-89D2-68A8791E8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393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C8182-694D-476D-89D2-68A8791E8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57D8C1-1FBE-4BEA-BB8A-D7BB7D89BD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E11262B-9E16-4A06-839F-379E02F3328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ACDA3-F0DC-4890-9C38-7E749145D83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3595A-C849-4BB3-928C-23008B7ADB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10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3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49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2E074-5B71-4DBB-A14B-375759A7C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2E074-5B71-4DBB-A14B-375759A7C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639B75-297A-4C63-87C3-55B4BB5972BD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FC9BB2D-8032-4064-AAAF-C0124F2FFB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Gutter space"/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58" name="Five column measure"/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1000" kern="1200" noProof="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1000" kern="1200" noProof="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1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55" name="Slide Number Placeholder 4">
              <a:extLst>
                <a:ext uri="{FF2B5EF4-FFF2-40B4-BE49-F238E27FC236}">
                  <a16:creationId xmlns:a16="http://schemas.microsoft.com/office/drawing/2014/main" id="{08F3DD70-89DB-4BDF-B99A-75BF83D33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6A8253-661C-448D-BD13-2184E6799853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F38E77A0-4A7F-4477-A4F0-216DD6BFD8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194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4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6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9773AD-6839-4B80-AA4A-A8E19E1604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868" y="2327563"/>
            <a:ext cx="6133059" cy="1368133"/>
          </a:xfrm>
        </p:spPr>
        <p:txBody>
          <a:bodyPr vert="horz" lIns="0" tIns="0" rIns="0" bIns="0" anchor="t" anchorCtr="0">
            <a:normAutofit/>
          </a:bodyPr>
          <a:lstStyle>
            <a:lvl1pPr>
              <a:defRPr kumimoji="0" lang="en-US" sz="5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EDD5F-7F3C-490F-BB66-6786D0BF6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868" y="4145570"/>
            <a:ext cx="7026112" cy="569323"/>
          </a:xfrm>
        </p:spPr>
        <p:txBody>
          <a:bodyPr lIns="0" tIns="0" rIns="0" bIns="0" anchor="ctr">
            <a:normAutofit/>
          </a:bodyPr>
          <a:lstStyle>
            <a:lvl1pPr>
              <a:defRPr kumimoji="0" lang="en-US" sz="24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R="0" lvl="0" fontAlgn="auto">
              <a:buSzTx/>
              <a:buNone/>
              <a:tabLst/>
            </a:pPr>
            <a:r>
              <a:rPr lang="en-US"/>
              <a:t>Click to add sub-titl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35A00EB5-0FAF-484A-8699-1321539AA5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808" y="780759"/>
            <a:ext cx="3083728" cy="13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01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F77CA1-26F9-436A-910B-88D939DE3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03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7CA1-26F9-436A-910B-88D939DE3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27027DE-53B9-47E9-BC0B-96F20C7350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6E5150A-B35B-4AF4-A9B2-05E73B9C119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C22F-7491-4576-B542-D8D635A3690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008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0649B3-56A9-4891-B917-21155BC14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0649B3-56A9-4891-B917-21155BC14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8" y="1567657"/>
            <a:ext cx="10944223" cy="42424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24AAEE-5656-4C18-9445-FCDCEBDB07D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B3552B8-8926-4C21-BA94-FAA0F2A6E82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43D538-90CB-4D55-B89D-15D64C53D57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333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DE9CC-A036-4F4D-A14D-EB8ABBCB3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3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DE9CC-A036-4F4D-A14D-EB8ABBCB3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3888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2000" kern="120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1227048"/>
            <a:ext cx="3744000" cy="664797"/>
          </a:xfrm>
        </p:spPr>
        <p:txBody>
          <a:bodyPr vert="horz" lIns="0" tIns="0" rIns="0" bIns="0" anchor="t" anchorCtr="0"/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400F63-AE33-40C7-A0AD-DA19F79B17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C98CC03-66C4-4DF9-A382-0068960ACAC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B56266-D7CC-465B-8B60-3AF98E13CFA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0183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8500D-67F8-4FC9-BBA7-9E33F7A85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9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18500D-67F8-4FC9-BBA7-9E33F7A85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2668041"/>
            <a:ext cx="10944223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623888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47B45D-63D3-447B-908C-CF4B5CE7B2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8AB40C73-C27E-4812-9016-3F72D6A4F7F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74A30-68E3-4BFF-8A99-2F6B4A7F58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8307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04FA3E-3C05-4075-B810-C6C608F92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0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4FA3E-3C05-4075-B810-C6C608F9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3888" y="3680016"/>
            <a:ext cx="1156469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7891F24D-B424-4135-B512-90866CBF2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19A782B-27D3-4EB6-9B76-266854BE2D5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0E13D0-FCA8-4F85-9BFE-8D53C2B664D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1438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C802F4-7B1C-424A-A724-A3DB0FEC7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2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802F4-7B1C-424A-A724-A3DB0FEC7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2E05AE88-073A-4849-97C2-90061D6F5D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3573" y="1749474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52FAE6F8-8F8E-2649-B90D-DA4DA253671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573" y="3055531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B046AB1-A349-6A43-86D1-B3494A9309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3573" y="4361588"/>
            <a:ext cx="1448593" cy="1081893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8229600" y="0"/>
            <a:ext cx="39624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19824"/>
            <a:ext cx="9037982" cy="638175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7143004" cy="76173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40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32C9367-6494-8A47-AC8C-4182C6AE5532}"/>
              </a:ext>
            </a:extLst>
          </p:cNvPr>
          <p:cNvGrpSpPr/>
          <p:nvPr userDrawn="1"/>
        </p:nvGrpSpPr>
        <p:grpSpPr>
          <a:xfrm>
            <a:off x="8197851" y="3144472"/>
            <a:ext cx="647687" cy="375053"/>
            <a:chOff x="7685781" y="3144472"/>
            <a:chExt cx="647687" cy="375053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950B1734-3EAB-7B45-ABC0-32DE73867F80}"/>
                </a:ext>
              </a:extLst>
            </p:cNvPr>
            <p:cNvSpPr/>
            <p:nvPr userDrawn="1"/>
          </p:nvSpPr>
          <p:spPr>
            <a:xfrm>
              <a:off x="8145942" y="3144472"/>
              <a:ext cx="187526" cy="375053"/>
            </a:xfrm>
            <a:custGeom>
              <a:avLst/>
              <a:gdLst/>
              <a:ahLst/>
              <a:cxnLst/>
              <a:rect l="l" t="t" r="r" b="b"/>
              <a:pathLst>
                <a:path w="309244" h="618489">
                  <a:moveTo>
                    <a:pt x="0" y="618389"/>
                  </a:moveTo>
                  <a:lnTo>
                    <a:pt x="309194" y="309194"/>
                  </a:lnTo>
                  <a:lnTo>
                    <a:pt x="10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9251126C-6618-4548-A231-D53C44B4AE32}"/>
                </a:ext>
              </a:extLst>
            </p:cNvPr>
            <p:cNvSpPr/>
            <p:nvPr userDrawn="1"/>
          </p:nvSpPr>
          <p:spPr>
            <a:xfrm>
              <a:off x="7685781" y="3331979"/>
              <a:ext cx="640362" cy="0"/>
            </a:xfrm>
            <a:custGeom>
              <a:avLst/>
              <a:gdLst/>
              <a:ahLst/>
              <a:cxnLst/>
              <a:rect l="l" t="t" r="r" b="b"/>
              <a:pathLst>
                <a:path w="1056005">
                  <a:moveTo>
                    <a:pt x="0" y="0"/>
                  </a:moveTo>
                  <a:lnTo>
                    <a:pt x="1055465" y="0"/>
                  </a:lnTo>
                </a:path>
              </a:pathLst>
            </a:custGeom>
            <a:ln w="628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algn="l" rtl="0"/>
              <a:endParaRPr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A8061-F652-9D42-9198-C98428BEF567}"/>
              </a:ext>
            </a:extLst>
          </p:cNvPr>
          <p:cNvSpPr/>
          <p:nvPr userDrawn="1"/>
        </p:nvSpPr>
        <p:spPr>
          <a:xfrm>
            <a:off x="8166104" y="1"/>
            <a:ext cx="63495" cy="6858000"/>
          </a:xfrm>
          <a:prstGeom prst="rect">
            <a:avLst/>
          </a:prstGeom>
          <a:gradFill flip="none" rotWithShape="1">
            <a:gsLst>
              <a:gs pos="100000">
                <a:srgbClr val="E8E7E6"/>
              </a:gs>
              <a:gs pos="0">
                <a:srgbClr val="E8E7E6"/>
              </a:gs>
              <a:gs pos="25000">
                <a:srgbClr val="918D91"/>
              </a:gs>
              <a:gs pos="73000">
                <a:srgbClr val="918D91"/>
              </a:gs>
              <a:gs pos="48000">
                <a:srgbClr val="F2F1F1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9B2A45-B44B-A041-96EC-E3B6B4888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40800" y="1584857"/>
            <a:ext cx="2645725" cy="350965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1F3828-38D5-3A4A-BAED-2F11AB5210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362" y="1766951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03B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FDCB9D4-346E-3244-92AD-1E0A37E712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43362" y="3073009"/>
            <a:ext cx="5516900" cy="97459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ACA8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74A6B24-2609-594D-88A5-F70FC5272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3362" y="4379066"/>
            <a:ext cx="5516900" cy="9745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tabLst/>
              <a:defRPr lang="en-GB" sz="2400" kern="1200" dirty="0">
                <a:solidFill>
                  <a:srgbClr val="00567A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None/>
              <a:tabLst/>
              <a:defRPr>
                <a:solidFill>
                  <a:schemeClr val="accent4"/>
                </a:solidFill>
              </a:defRPr>
            </a:lvl3pPr>
            <a:lvl4pPr marL="7938" indent="0">
              <a:tabLst/>
              <a:defRPr/>
            </a:lvl4pPr>
            <a:lvl5pPr marL="7938" indent="0">
              <a:tabLst/>
              <a:defRPr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24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5236F7-E3AB-A84B-AF21-4ECBA16FDC81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F6E75552-734F-43C1-B4B2-4C3433ACC59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667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4BDCA4-F1CF-407D-B7D7-BE74A1B05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01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4BDCA4-F1CF-407D-B7D7-BE74A1B0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CE2AB1-818E-4AD2-B653-A25F19EF5F9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D36A88-C9C3-4FB0-8015-2467829E21C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72F82BD-0DB7-4528-82BD-CBC6E5F72B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98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78EC4-03CD-45D2-8A17-6C9F302B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4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78EC4-03CD-45D2-8A17-6C9F302B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76529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8CE1B6F-0AFC-4DBB-9BE2-0736735793D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D04BF-25AA-4F1D-850E-140AB7FE2A5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30A5AE6-59D2-4E43-BB69-B544026B22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95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04FD88-056E-4666-86A5-E05B869DB3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2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4FD88-056E-4666-86A5-E05B869DB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8101584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AC79F58-E3AE-46ED-BAF1-309D0E8CE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DC271E-F215-4C57-A182-9690BBB8D1E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C113E05-04B9-45BA-B212-5300E67487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09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A03B"/>
            </a:gs>
            <a:gs pos="17000">
              <a:srgbClr val="00A03B"/>
            </a:gs>
            <a:gs pos="33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316954-2258-4B9A-89D0-5BEFADED62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4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316954-2258-4B9A-89D0-5BEFADED6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3B5F040-B816-45CF-A4CC-77FFA59C178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FA4FA5-89F0-4F1B-9888-0F24E756BB0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12423AA-3A6A-4204-ACCA-E882B5B67C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551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55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FEB31D-8C7F-481A-B672-E7E8D72B02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EB31D-8C7F-481A-B672-E7E8D72B0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3888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F8CD3F-78F1-4552-8EE9-E3D3F40A701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ED78E-9EBA-4175-99B7-011C1BCB154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B7FA44C-8166-415F-B402-755C045148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706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A03B"/>
            </a:gs>
            <a:gs pos="24000">
              <a:srgbClr val="00A03B"/>
            </a:gs>
            <a:gs pos="68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A0B0B9-F977-4C28-93D3-2A9F5072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8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A0B0B9-F977-4C28-93D3-2A9F5072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38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8FA753-17CA-4EAC-AA92-27C08750502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244896-8098-4396-B3F2-234D265B0D5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F62F206-E90C-478C-88C2-A3EFFBA5D9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791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80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477034-5B90-4F0D-A67E-C40CB0ADE5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764203"/>
            <a:ext cx="2478638" cy="1314311"/>
          </a:xfrm>
        </p:spPr>
        <p:txBody>
          <a:bodyPr anchor="ctr"/>
          <a:lstStyle>
            <a:lvl1pPr>
              <a:defRPr kumimoji="0" lang="en-US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A0EE393-53E8-4535-A518-88FB3BB6FE2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D4BE-5E35-4DFA-ABE7-BFBCBC0D154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200D6CD-B686-49BE-9460-C93F671A54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8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8D89A-B78B-411A-9F9B-7C00A936D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9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8D89A-B78B-411A-9F9B-7C00A936D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748D86D-4B2D-43EC-8678-6E765618CC32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54710-7EDD-4CFC-AD84-406694123B4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32C0251-7CA7-45C1-9DA3-486C778944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14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1E7246-C1C6-48DA-B2B1-F232F70F3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14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E7246-C1C6-48DA-B2B1-F232F70F3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kumimoji="0" lang="en-US" sz="4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00207B5-0F10-4EFF-B763-6E6C2DB54A0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90099-BC3C-407F-9CFB-476B619A91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C16F9-389B-4FEE-B464-B2A0CEE027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5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DBAC74-0CD9-4EF9-8E04-DCF1FD060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DBAC74-0CD9-4EF9-8E04-DCF1FD060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6F15FBE-F3F7-4E2E-ABC7-2E282EBB6F86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11945-77BB-4E35-8E29-8633717A11E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14D0EDC-E702-4B97-89DD-92B7C2C729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57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tablet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53990C0-4EFA-6F49-B742-E1F0C5D0E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9822" y="-255771"/>
            <a:ext cx="6858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23A839C-D76A-4444-AE73-0C23062ED4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163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78DB80-5C94-46E5-A558-775754436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10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78DB80-5C94-46E5-A558-775754436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7501EF0-DE3C-4FC5-8B90-5A0837EE320D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5FDF69-21E2-47F4-884D-12220A7A99AC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36FEB1-249C-4981-A387-591F5DC3C5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36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8FEA2-F877-4172-976A-C76F7C296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052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8FEA2-F877-4172-976A-C76F7C296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4747822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E55B37E-06CC-467D-8BEE-40001D8FE50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FAA7BB-F4D0-4069-9DDE-23A9C74D95B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E55D16-EE80-4CE6-909D-FA03AC45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40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DA4578-3C02-4534-B305-5972D1FA9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DA4578-3C02-4534-B305-5972D1FA9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6254496" cy="54649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lang="en-US" sz="3200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F5599F1-E2F1-45BE-9503-D3169F75FEB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F14D2-C352-4673-BD89-CB0283B7AE52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D991C40-4B39-466D-995E-7AB8C3AF6D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212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EDE3CC-E5AA-4C8A-B834-9E51738D9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1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DE3CC-E5AA-4C8A-B834-9E51738D9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2"/>
            <a:ext cx="6254496" cy="546498"/>
          </a:xfrm>
          <a:prstGeom prst="rect">
            <a:avLst/>
          </a:prstGeom>
        </p:spPr>
        <p:txBody>
          <a:bodyPr vert="horz"/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DD2D94C-F711-4ED5-8790-ACFEEFC202D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60DD9-096F-4AB3-9B75-13B683C382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0577382-3AA3-4C75-8183-F11A7D4E62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14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8DEF6-41EA-454A-AE7D-45217FFFD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7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DEF6-41EA-454A-AE7D-45217FFFD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CA855-6E8F-487B-B388-07A1FB76779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14DFC-C4DC-4C75-8BAF-467ECB2C39B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F9711B6-4A05-4901-B01D-5F47D50DB3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817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A42008-A08E-4CAC-B27B-E50C1A53D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31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42008-A08E-4CAC-B27B-E50C1A53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3888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826333"/>
            <a:ext cx="10944223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kumimoji="0" lang="en-US" sz="54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big statement tex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C13A2FB-5316-4EF8-84A2-96F7CAAC30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4744B9-5476-45F9-B8B5-8FC14414931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AC7EE6-2C02-4D5D-92F5-3D306AECA04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05510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6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12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A0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A48CAD8-D5DB-4A4E-884C-1820E6D802F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0AB0C7-EFA4-436D-9F3C-CA7306A19150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BDFB92C-12DC-4D50-A342-CB0A75C007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451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A8B628-4AEB-446F-BFD2-40B7A1F1C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8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8B628-4AEB-446F-BFD2-40B7A1F1C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944223" cy="546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1B21FEFA-19A7-44F7-A146-0EAE071AB8B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FC31-AF85-4EEC-A3D2-FE56C50AE8D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60DFC4-F72F-4CAD-A75A-751E89428F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62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6C275-4E04-4427-96DF-E597B18F0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2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26C275-4E04-4427-96DF-E597B18F0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8A6228E-F6AC-424C-9504-6DA01D07F15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E1A23-D6EB-4F94-AF3E-AF06939C627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7AA353-8A19-4FFC-9A06-3E7E10F9F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55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B50AF5-C593-4926-840E-F52034DBB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3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0AF5-C593-4926-840E-F52034DBB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1C14C4-16E4-4409-95D9-A5AB1FB4CD4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35FE6B-3DE9-48C3-A451-CED2381FBBC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2C847C2-0F09-451A-B241-C4F9C7A79A0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60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">
    <p:bg>
      <p:bgPr>
        <a:gradFill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7FC91F7-1792-964B-88EB-8E7A15C63989}"/>
              </a:ext>
            </a:extLst>
          </p:cNvPr>
          <p:cNvSpPr/>
          <p:nvPr userDrawn="1"/>
        </p:nvSpPr>
        <p:spPr>
          <a:xfrm>
            <a:off x="522713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00D944D-EF31-6D4E-BC1C-8A8DF04B017E}"/>
              </a:ext>
            </a:extLst>
          </p:cNvPr>
          <p:cNvSpPr/>
          <p:nvPr userDrawn="1"/>
        </p:nvSpPr>
        <p:spPr>
          <a:xfrm>
            <a:off x="2895997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49C1EE-1915-CB46-B039-0693AE2C70A4}"/>
              </a:ext>
            </a:extLst>
          </p:cNvPr>
          <p:cNvSpPr/>
          <p:nvPr userDrawn="1"/>
        </p:nvSpPr>
        <p:spPr>
          <a:xfrm>
            <a:off x="5269280" y="3684771"/>
            <a:ext cx="2252129" cy="2159057"/>
          </a:xfrm>
          <a:prstGeom prst="roundRect">
            <a:avLst>
              <a:gd name="adj" fmla="val 3576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4134" y="800101"/>
            <a:ext cx="5708072" cy="205393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B40D18-EAC9-584C-B9FD-44837F73A6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66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354CF53-0D21-884F-BC87-5CE1C5A04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0674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3C312DD-98B6-3440-9713-EC9CE955FC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3890" y="3783750"/>
            <a:ext cx="1994138" cy="1928075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E622E-AD1B-5B4B-AE82-633FCA80A45A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0D4B2-F14A-DC45-8CB4-64DE1653C5B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7813" y="333615"/>
            <a:ext cx="3930650" cy="5510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lang="en-GB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add big ico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A90AFC39-9361-4E2B-BB5A-8011C92B3B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7871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B0F15-73BC-4B64-BDD6-D2204DBB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1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B0F15-73BC-4B64-BDD6-D2204DBB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C66511-F895-404A-8057-824A35025E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9666F01-ECA6-4878-BEEB-A68B7F99B9B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722BD-BE60-4C9E-BCCC-433CDEB134A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33230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F14948-792A-4AC0-BCE4-B8B6C8BD8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63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14948-792A-4AC0-BCE4-B8B6C8BD8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9DC3ECB-CC68-42AA-8DFD-E00498410F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0358A4B-B27F-49AA-B465-828D5A8D0FFC}"/>
              </a:ext>
            </a:extLst>
          </p:cNvPr>
          <p:cNvSpPr txBox="1">
            <a:spLocks/>
          </p:cNvSpPr>
          <p:nvPr userDrawn="1"/>
        </p:nvSpPr>
        <p:spPr>
          <a:xfrm>
            <a:off x="623888" y="2947460"/>
            <a:ext cx="3199529" cy="75758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R="0" lvl="0" indent="0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0" i="0" u="none" strike="noStrike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 sz="5400"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316D62-10B7-43FC-8BDE-6116CDBC489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DBDD018-875F-4659-9A9F-34F4D71DCF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FB37835-2A4B-4C61-9510-4272E064A15A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8042BD-1A67-4722-99D2-EB3E11E482E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0543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3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757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5F541B58-321F-496F-8E0F-7A5CFDBE7B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292" y="780759"/>
            <a:ext cx="5339292" cy="23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30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578031-E19C-4B38-917F-6F32C8EEA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78031-E19C-4B38-917F-6F32C8EEA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08ECE0-B065-4C6B-A1C7-C5CD9599B051}"/>
              </a:ext>
            </a:extLst>
          </p:cNvPr>
          <p:cNvGrpSpPr/>
          <p:nvPr userDrawn="1"/>
        </p:nvGrpSpPr>
        <p:grpSpPr>
          <a:xfrm>
            <a:off x="-600" y="-1"/>
            <a:ext cx="12193799" cy="6858001"/>
            <a:chOff x="-600" y="-1"/>
            <a:chExt cx="12193799" cy="6858001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9F4C1E-D9D6-4B72-A1E7-12252E64E303}"/>
                </a:ext>
              </a:extLst>
            </p:cNvPr>
            <p:cNvSpPr/>
            <p:nvPr userDrawn="1"/>
          </p:nvSpPr>
          <p:spPr>
            <a:xfrm>
              <a:off x="-1" y="-1"/>
              <a:ext cx="12193200" cy="6858000"/>
            </a:xfrm>
            <a:custGeom>
              <a:avLst/>
              <a:gdLst>
                <a:gd name="connsiteX0" fmla="*/ 629400 w 12193200"/>
                <a:gd name="connsiteY0" fmla="*/ 6235702 h 6858000"/>
                <a:gd name="connsiteX1" fmla="*/ 629400 w 12193200"/>
                <a:gd name="connsiteY1" fmla="*/ 6235703 h 6858000"/>
                <a:gd name="connsiteX2" fmla="*/ 11562599 w 12193200"/>
                <a:gd name="connsiteY2" fmla="*/ 6235703 h 6858000"/>
                <a:gd name="connsiteX3" fmla="*/ 11562599 w 12193200"/>
                <a:gd name="connsiteY3" fmla="*/ 6235702 h 6858000"/>
                <a:gd name="connsiteX4" fmla="*/ 629400 w 12193200"/>
                <a:gd name="connsiteY4" fmla="*/ 303713 h 6858000"/>
                <a:gd name="connsiteX5" fmla="*/ 629400 w 12193200"/>
                <a:gd name="connsiteY5" fmla="*/ 5810082 h 6858000"/>
                <a:gd name="connsiteX6" fmla="*/ 11562599 w 12193200"/>
                <a:gd name="connsiteY6" fmla="*/ 5810082 h 6858000"/>
                <a:gd name="connsiteX7" fmla="*/ 11562599 w 12193200"/>
                <a:gd name="connsiteY7" fmla="*/ 303713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29400" y="6235702"/>
                  </a:moveTo>
                  <a:lnTo>
                    <a:pt x="629400" y="6235703"/>
                  </a:lnTo>
                  <a:lnTo>
                    <a:pt x="11562599" y="6235703"/>
                  </a:lnTo>
                  <a:lnTo>
                    <a:pt x="11562599" y="6235702"/>
                  </a:lnTo>
                  <a:close/>
                  <a:moveTo>
                    <a:pt x="629400" y="303713"/>
                  </a:moveTo>
                  <a:lnTo>
                    <a:pt x="629400" y="5810082"/>
                  </a:lnTo>
                  <a:lnTo>
                    <a:pt x="11562599" y="5810082"/>
                  </a:lnTo>
                  <a:lnTo>
                    <a:pt x="11562599" y="30371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7" name="Baselines / anchors">
              <a:extLst>
                <a:ext uri="{FF2B5EF4-FFF2-40B4-BE49-F238E27FC236}">
                  <a16:creationId xmlns:a16="http://schemas.microsoft.com/office/drawing/2014/main" id="{9C70BDC1-CE9E-41DF-810D-1F916398C660}"/>
                </a:ext>
              </a:extLst>
            </p:cNvPr>
            <p:cNvGrpSpPr/>
            <p:nvPr userDrawn="1"/>
          </p:nvGrpSpPr>
          <p:grpSpPr>
            <a:xfrm>
              <a:off x="-600" y="303713"/>
              <a:ext cx="12193200" cy="5506369"/>
              <a:chOff x="12623800" y="622800"/>
              <a:chExt cx="11176000" cy="5536800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791B29-8AD7-4A74-81D8-A0BAA07003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E39D502-0831-4077-A00B-6C87245E497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BA4879-F4FC-4E5D-B392-F8B420C083B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E6A3968-FE1F-4E52-9AAF-B6AE3077906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2F3A664-5A36-4CD7-970C-89FAA59728D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784291-B840-41BD-9522-5DF4BB9BF51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71DA2DF-256A-4FFB-B654-17665C3F698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58E9C8-E6C6-4634-9323-DB629D211E3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3704ED4-FFE5-464E-8742-A29D1FA0184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094B49-3CD7-4144-A0F5-F35CCE92781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7B6881-729F-42DB-8658-D4B03602806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87D34DBB-42C1-4D1A-AE55-4868687B001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E9CA0FA-5D23-4006-9A7B-FEC68994CB8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585D84F-B3CE-46B9-BB0B-547E493547A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FCA9B6B-0C91-4178-895C-932417BF1BB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102A12D6-A8BB-42CD-AA51-4417759EC74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6343E-1CFE-4BEB-BC86-8B1DAB40FB3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14D4E892-F671-47FF-BA37-C14DD48381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99A0F08-7A56-44BA-8785-CC6325DAC3D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ACF9F24-1494-4193-8674-23A5E46B9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Slide edges">
              <a:extLst>
                <a:ext uri="{FF2B5EF4-FFF2-40B4-BE49-F238E27FC236}">
                  <a16:creationId xmlns:a16="http://schemas.microsoft.com/office/drawing/2014/main" id="{481BE27E-672E-4E00-8AA9-07265CC4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Footnote measure">
              <a:extLst>
                <a:ext uri="{FF2B5EF4-FFF2-40B4-BE49-F238E27FC236}">
                  <a16:creationId xmlns:a16="http://schemas.microsoft.com/office/drawing/2014/main" id="{E31B5736-08B9-4FDA-ACAC-D4E4E063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961" y="6235702"/>
              <a:ext cx="10472639" cy="43656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Whitespace measure">
              <a:extLst>
                <a:ext uri="{FF2B5EF4-FFF2-40B4-BE49-F238E27FC236}">
                  <a16:creationId xmlns:a16="http://schemas.microsoft.com/office/drawing/2014/main" id="{A9737F3B-EBFB-4C77-A00C-AB190493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275048"/>
              <a:ext cx="10932229" cy="29260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1" name="Gutter space">
              <a:extLst>
                <a:ext uri="{FF2B5EF4-FFF2-40B4-BE49-F238E27FC236}">
                  <a16:creationId xmlns:a16="http://schemas.microsoft.com/office/drawing/2014/main" id="{3D85B75D-B695-40DA-9839-5B162533E052}"/>
                </a:ext>
              </a:extLst>
            </p:cNvPr>
            <p:cNvGrpSpPr/>
            <p:nvPr userDrawn="1"/>
          </p:nvGrpSpPr>
          <p:grpSpPr>
            <a:xfrm>
              <a:off x="1277000" y="303712"/>
              <a:ext cx="9638000" cy="5506369"/>
              <a:chOff x="1277000" y="623550"/>
              <a:chExt cx="9638000" cy="5537047"/>
            </a:xfrm>
          </p:grpSpPr>
          <p:sp>
            <p:nvSpPr>
              <p:cNvPr id="73" name="Rectangle 34">
                <a:extLst>
                  <a:ext uri="{FF2B5EF4-FFF2-40B4-BE49-F238E27FC236}">
                    <a16:creationId xmlns:a16="http://schemas.microsoft.com/office/drawing/2014/main" id="{C3E24ABD-7DAA-4EE0-B966-C6B6599D8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35">
                <a:extLst>
                  <a:ext uri="{FF2B5EF4-FFF2-40B4-BE49-F238E27FC236}">
                    <a16:creationId xmlns:a16="http://schemas.microsoft.com/office/drawing/2014/main" id="{E95BDFA9-17CF-4F0C-AC41-49A6D7EBE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36">
                <a:extLst>
                  <a:ext uri="{FF2B5EF4-FFF2-40B4-BE49-F238E27FC236}">
                    <a16:creationId xmlns:a16="http://schemas.microsoft.com/office/drawing/2014/main" id="{A4442FBC-74DA-45BB-8198-D08DDCC38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37">
                <a:extLst>
                  <a:ext uri="{FF2B5EF4-FFF2-40B4-BE49-F238E27FC236}">
                    <a16:creationId xmlns:a16="http://schemas.microsoft.com/office/drawing/2014/main" id="{4586D5F6-FBCD-45FA-8712-9BC20120F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 38">
                <a:extLst>
                  <a:ext uri="{FF2B5EF4-FFF2-40B4-BE49-F238E27FC236}">
                    <a16:creationId xmlns:a16="http://schemas.microsoft.com/office/drawing/2014/main" id="{FAE06193-36FD-4A93-8CF9-5549984F7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8" name="Rectangle 39">
                <a:extLst>
                  <a:ext uri="{FF2B5EF4-FFF2-40B4-BE49-F238E27FC236}">
                    <a16:creationId xmlns:a16="http://schemas.microsoft.com/office/drawing/2014/main" id="{600569BD-82B7-45DE-97B1-77A5C167E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9" name="Rectangle 40">
                <a:extLst>
                  <a:ext uri="{FF2B5EF4-FFF2-40B4-BE49-F238E27FC236}">
                    <a16:creationId xmlns:a16="http://schemas.microsoft.com/office/drawing/2014/main" id="{4831E937-319A-44D3-8D0C-CCD1E1667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Rectangle 41">
                <a:extLst>
                  <a:ext uri="{FF2B5EF4-FFF2-40B4-BE49-F238E27FC236}">
                    <a16:creationId xmlns:a16="http://schemas.microsoft.com/office/drawing/2014/main" id="{0214E106-C841-4272-8481-95DDE63D5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1" name="Rectangle 42">
                <a:extLst>
                  <a:ext uri="{FF2B5EF4-FFF2-40B4-BE49-F238E27FC236}">
                    <a16:creationId xmlns:a16="http://schemas.microsoft.com/office/drawing/2014/main" id="{CCDA5963-7D9F-4764-9087-F1D3D241B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2" name="Rectangle 43">
                <a:extLst>
                  <a:ext uri="{FF2B5EF4-FFF2-40B4-BE49-F238E27FC236}">
                    <a16:creationId xmlns:a16="http://schemas.microsoft.com/office/drawing/2014/main" id="{A7121FB4-7DF9-45C1-8AB8-D26F6F55DB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3" name="Rectangle 44">
                <a:extLst>
                  <a:ext uri="{FF2B5EF4-FFF2-40B4-BE49-F238E27FC236}">
                    <a16:creationId xmlns:a16="http://schemas.microsoft.com/office/drawing/2014/main" id="{2134F9DD-78F7-4494-BEC9-A3EEC9037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>
              <a:extLst>
                <a:ext uri="{FF2B5EF4-FFF2-40B4-BE49-F238E27FC236}">
                  <a16:creationId xmlns:a16="http://schemas.microsoft.com/office/drawing/2014/main" id="{E492AD2C-13EE-4E77-8D63-B7AA135A2ED5}"/>
                </a:ext>
              </a:extLst>
            </p:cNvPr>
            <p:cNvGrpSpPr/>
            <p:nvPr userDrawn="1"/>
          </p:nvGrpSpPr>
          <p:grpSpPr>
            <a:xfrm>
              <a:off x="629400" y="5625634"/>
              <a:ext cx="10933200" cy="79095"/>
              <a:chOff x="629400" y="5975122"/>
              <a:chExt cx="10933200" cy="79536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6AF75EE-2A5F-4D0E-A2B3-E2BA19042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7">
                <a:extLst>
                  <a:ext uri="{FF2B5EF4-FFF2-40B4-BE49-F238E27FC236}">
                    <a16:creationId xmlns:a16="http://schemas.microsoft.com/office/drawing/2014/main" id="{11FCB234-F29D-4248-A8ED-7818C1AC30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9">
                <a:extLst>
                  <a:ext uri="{FF2B5EF4-FFF2-40B4-BE49-F238E27FC236}">
                    <a16:creationId xmlns:a16="http://schemas.microsoft.com/office/drawing/2014/main" id="{5E76A477-7C6D-4287-8C28-A4C2DBE41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id="{D1E2B118-C384-4745-9841-B3C4EB1F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13">
                <a:extLst>
                  <a:ext uri="{FF2B5EF4-FFF2-40B4-BE49-F238E27FC236}">
                    <a16:creationId xmlns:a16="http://schemas.microsoft.com/office/drawing/2014/main" id="{217D576F-B5C6-4944-AE9D-AF1C52528C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area">
              <a:extLst>
                <a:ext uri="{FF2B5EF4-FFF2-40B4-BE49-F238E27FC236}">
                  <a16:creationId xmlns:a16="http://schemas.microsoft.com/office/drawing/2014/main" id="{05429FE6-50B8-4ADA-9715-2D9A6455A869}"/>
                </a:ext>
              </a:extLst>
            </p:cNvPr>
            <p:cNvSpPr/>
            <p:nvPr userDrawn="1"/>
          </p:nvSpPr>
          <p:spPr>
            <a:xfrm>
              <a:off x="629400" y="1567656"/>
              <a:ext cx="10933200" cy="424242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Footnote example">
              <a:extLst>
                <a:ext uri="{FF2B5EF4-FFF2-40B4-BE49-F238E27FC236}">
                  <a16:creationId xmlns:a16="http://schemas.microsoft.com/office/drawing/2014/main" id="{E69437CA-CB38-4DBA-8F58-54F11668B7F8}"/>
                </a:ext>
              </a:extLst>
            </p:cNvPr>
            <p:cNvSpPr txBox="1"/>
            <p:nvPr userDrawn="1"/>
          </p:nvSpPr>
          <p:spPr>
            <a:xfrm>
              <a:off x="1089961" y="6254969"/>
              <a:ext cx="8664371" cy="41729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65" name="Slide Number Placeholder 4">
              <a:extLst>
                <a:ext uri="{FF2B5EF4-FFF2-40B4-BE49-F238E27FC236}">
                  <a16:creationId xmlns:a16="http://schemas.microsoft.com/office/drawing/2014/main" id="{580A4265-035B-4325-AD76-9CBE0D1C53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77849" y="6316662"/>
              <a:ext cx="307975" cy="365125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C2832ACA-4727-4D4C-ACEE-24DD06899962}" type="slidenum">
                <a:rPr kumimoji="0" 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B1ED753-6035-488E-A78D-37D1E9A73CC4}"/>
                </a:ext>
              </a:extLst>
            </p:cNvPr>
            <p:cNvSpPr txBox="1"/>
            <p:nvPr userDrawn="1"/>
          </p:nvSpPr>
          <p:spPr>
            <a:xfrm>
              <a:off x="951848" y="6451285"/>
              <a:ext cx="1809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Arial" panose="020B0604020202020204" pitchFamily="34" charset="0"/>
                </a:rPr>
                <a:t>|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A5EA4845-7A97-43DE-A120-EA4A3CBCAA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31767" y="6302027"/>
              <a:ext cx="1106133" cy="513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504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0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6E7D6E6-95EE-42C8-AEF7-6F784D6E9241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9D37-8A0C-4077-B236-65588E1DC224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BA25831-86FF-40D0-B3B1-31C79BE0F7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13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12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403D76B-458C-4DC2-A102-4A87ED63CDC3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46BA37-D526-40B0-A2B9-358FE61C7A6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1DBD2DA-63FF-4734-ACC0-7CE4D7BCE2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8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4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FE16D07-9419-4C3C-8A0C-FAD541D89225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CC70A8-246A-498E-85C2-8BF3FFCE8368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F6C6F8-C1BD-4EA2-B0C5-155BB40800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61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74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3888" y="3291873"/>
            <a:ext cx="1737360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6D275DB-93C9-4496-92E5-102D3A88775C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915667-6AC3-409B-AB3B-1E0D52164713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613AA49-AB9C-46DA-942D-0DF6226D6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578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117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78564" cy="849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CB24B87-E14F-4EFA-BD28-072E4974FE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FEEDEC4-9D0A-41DC-9337-795C8000425E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B56A69-5C1D-484B-95B5-A0C98D4E8BA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887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533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23888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3888" y="2667600"/>
            <a:ext cx="10944223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2869BBD-576B-4619-89A3-2D410902E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CEA99E1-50E0-4FFA-A3A7-D092765580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85D6-32FB-4BA4-990E-C4CC42FC855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1667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xed Big icon - micro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490104-701F-423E-8E1D-5F0F0E596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90104-701F-423E-8E1D-5F0F0E596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6B209C9-523B-384F-A711-CE3CCB485C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5000" y="-258550"/>
            <a:ext cx="6858000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6FE7450-F139-47C7-9E0A-7C58438A8B1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156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2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3888" y="622800"/>
            <a:ext cx="7189998" cy="3928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23888" y="1206000"/>
            <a:ext cx="1157131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B2DBFD2-DFA8-4F1F-A1C6-1D306E063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076270C-D16E-4B58-9702-B1791E921CA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B2685-C3F2-4B82-AED6-57E9F69CE606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0361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56000">
              <a:srgbClr val="00A03B"/>
            </a:gs>
            <a:gs pos="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539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3888" y="3346303"/>
            <a:ext cx="1699183" cy="3928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8E0A733-433E-4C96-BC49-89B3E11C184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DF8D5-87D5-43E6-ABF1-322E89D9C055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26C599-8CCB-47C0-8E8A-6B154197FF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63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A03B"/>
            </a:gs>
            <a:gs pos="56000">
              <a:srgbClr val="00A03B"/>
            </a:gs>
            <a:gs pos="100000">
              <a:srgbClr val="AFCB37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62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3888" y="2706077"/>
            <a:ext cx="2819400" cy="15054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kern="1200" cap="none" spc="0" normalizeH="0" baseline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6A4A5F3-C532-4150-B8B8-0116A1CD7F67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832ACA-4727-4D4C-ACEE-24DD0689996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87DB7-5D2C-4432-96B7-8740F72C326E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F51829-889D-4572-8BFD-2E0B34E834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75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12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019110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3ED32359-97E4-713E-6F12-B34C1C1457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CA1374DA-2A8D-35C1-1B4C-7534AF410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9CC03C24-F825-553D-981F-37045D409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9AA84-7035-412F-9417-FFE4FD7B356B}" type="datetimeFigureOut">
              <a:rPr lang="he-IL" smtClean="0"/>
              <a:t>ב'/טבת/תשפ"ו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B3D5C83-4A55-BF2F-27DE-7F696BAA82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6CD62F5C-9DC6-3E60-0AA7-8AC08C77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94441-68C3-4B8D-8DEA-CCB3BE60D60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33711362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con placeholder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EC0A15-D811-44BA-8F3E-6435266F9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36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C0A15-D811-44BA-8F3E-6435266F9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E035FB-88A5-F24B-8B4B-C2B56431ECCB}"/>
              </a:ext>
            </a:extLst>
          </p:cNvPr>
          <p:cNvSpPr/>
          <p:nvPr userDrawn="1"/>
        </p:nvSpPr>
        <p:spPr>
          <a:xfrm>
            <a:off x="3154017" y="6263154"/>
            <a:ext cx="9037982" cy="59484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9080" y="1352583"/>
            <a:ext cx="4485920" cy="467674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kumimoji="0" lang="en-US" sz="7500" b="0" i="0" u="none" strike="noStrike" kern="1200" cap="none" spc="0" normalizeH="0" baseline="0" dirty="0">
                <a:ln>
                  <a:noFill/>
                </a:ln>
                <a:gradFill>
                  <a:gsLst>
                    <a:gs pos="56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  <a:effectLst/>
                <a:uLnTx/>
                <a:uFillTx/>
                <a:latin typeface="Teva Sans Ligh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3EE085-F0F6-AF45-804D-3CA4BB80C3AD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80490E-64D2-2D46-B8C3-878D780BDD2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3927" y="321740"/>
            <a:ext cx="5356411" cy="569571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add big icon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2670290-AA24-4EA6-9608-BE2D16F40534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120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1CAB7A-EF45-4538-AAA2-C4B92704C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70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1CAB7A-EF45-4538-AAA2-C4B92704C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927462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493000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0F9D09-5834-C244-BAFF-53F9EB3982F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155164" y="1443038"/>
            <a:ext cx="1273175" cy="1271587"/>
          </a:xfrm>
          <a:prstGeom prst="ellipse">
            <a:avLst/>
          </a:prstGeom>
          <a:solidFill>
            <a:srgbClr val="00567A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FCE8E7E7-E7D0-564A-B77F-89C739CCDD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40287" y="1856579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49CA023-7F06-EC4E-9010-9B05754037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 lIns="91440" tIns="45720" rIns="91440" bIns="45720"/>
          <a:lstStyle>
            <a:lvl1pPr marL="0" indent="0"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AB6B1BF-D96E-D246-B831-23DE484FA6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7485" y="3753732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A45D28E-C9AB-6446-B5D2-3F49108C58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8148" y="3753732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4DF9E92-5578-0241-9C13-F04485E0D0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DEF92EE-F492-2F49-8AFA-0CD0EDC4D2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16094" y="3049061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9DEC324-5380-2647-AAFA-16BFA59010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0817" y="3118300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8428A27-2680-2145-B382-B6556CD90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GB" sz="2700" b="0" i="0" u="none" strike="noStrike" kern="1200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DE91EC-C34A-C44E-9C3A-660923C4B62B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67" name="Slide Number Placeholder 4">
            <a:extLst>
              <a:ext uri="{FF2B5EF4-FFF2-40B4-BE49-F238E27FC236}">
                <a16:creationId xmlns:a16="http://schemas.microsoft.com/office/drawing/2014/main" id="{8A6A6A5D-D092-4757-8483-0E03016B2CE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66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0C4D69-2BE2-4ED7-8B59-7691BA23E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25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4D69-2BE2-4ED7-8B59-7691BA23E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4246581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9"/>
            <a:ext cx="12225486" cy="628648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8254444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C0288A-F442-174D-9A66-33E49450C1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53E0170E-9FA2-984B-B3F6-AFDF18A393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59412" y="1443038"/>
            <a:ext cx="1273175" cy="1271587"/>
          </a:xfrm>
          <a:prstGeom prst="ellipse">
            <a:avLst/>
          </a:prstGeom>
          <a:solidFill>
            <a:srgbClr val="00ACA8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746A92-DE21-5A46-88D9-6BA3E3C17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F166F03-A13E-EE49-99F2-0DDC0CFEBF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5214" y="3748940"/>
            <a:ext cx="3151313" cy="1928075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5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6A68B81-911E-5540-9FC3-A3277695E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0342" y="3039476"/>
            <a:ext cx="3151313" cy="502678"/>
          </a:xfrm>
          <a:prstGeom prst="rect">
            <a:avLst/>
          </a:prstGeom>
        </p:spPr>
        <p:txBody>
          <a:bodyPr lIns="91440" tIns="45720" rIns="91440" bIns="4572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873E16B-C46B-A842-AF7C-90CF1AEF6E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923311-4204-E24D-A4E4-1BC6A637DAB9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265A1C6E-3201-0A4D-AE78-00558BF52A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74156" y="1856579"/>
            <a:ext cx="1029912" cy="1028628"/>
          </a:xfrm>
          <a:prstGeom prst="ellipse">
            <a:avLst/>
          </a:prstGeom>
          <a:solidFill>
            <a:srgbClr val="00A03B"/>
          </a:solidFill>
        </p:spPr>
        <p:txBody>
          <a:bodyPr/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167DC81B-3C11-A74A-8C02-73C982D63E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5259" y="3752760"/>
            <a:ext cx="2608852" cy="163106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3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B9E2663D-5BC7-B340-8C69-164AE7E944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77978" y="3127727"/>
            <a:ext cx="2608852" cy="502678"/>
          </a:xfrm>
          <a:prstGeom prst="rect">
            <a:avLst/>
          </a:prstGeom>
        </p:spPr>
        <p:txBody>
          <a:bodyPr lIns="91440" tIns="45720" rIns="91440" bIns="4572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2" name="Slide Number Placeholder 4">
            <a:extLst>
              <a:ext uri="{FF2B5EF4-FFF2-40B4-BE49-F238E27FC236}">
                <a16:creationId xmlns:a16="http://schemas.microsoft.com/office/drawing/2014/main" id="{CB126795-70EA-4530-98A9-F1E4BE672B78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6279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highligh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47BC25-9B6B-4E02-8E91-2723CCE66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7BC25-9B6B-4E02-8E91-2723CCE66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820CC3-F500-DF4D-A598-CB101560A8A4}"/>
              </a:ext>
            </a:extLst>
          </p:cNvPr>
          <p:cNvSpPr/>
          <p:nvPr userDrawn="1"/>
        </p:nvSpPr>
        <p:spPr>
          <a:xfrm>
            <a:off x="7588708" y="2089003"/>
            <a:ext cx="3728580" cy="38491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10F40-7ACA-D349-B1E7-A64B30F48F2D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51533FB-DDB1-4C11-B2CC-7293C2FFA0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333375"/>
            <a:ext cx="10944225" cy="692150"/>
          </a:xfrm>
          <a:prstGeom prst="rect">
            <a:avLst/>
          </a:prstGeom>
        </p:spPr>
        <p:txBody>
          <a:bodyPr vert="horz" lIns="91440" tIns="45720" rIns="91440" bIns="45720" anchor="t" anchorCtr="0">
            <a:normAutofit/>
          </a:bodyPr>
          <a:lstStyle>
            <a:lvl1pPr marL="0" indent="0">
              <a:defRPr lang="en-US" dirty="0">
                <a:gradFill>
                  <a:gsLst>
                    <a:gs pos="39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lvl="0" indent="0" algn="ctr"/>
            <a:r>
              <a:rPr lang="en-GB"/>
              <a:t>Click to add title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22253A-B127-BE4E-810A-EC937FC23F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BB6224-5F0C-F543-A5FB-5F019A4E657F}"/>
              </a:ext>
            </a:extLst>
          </p:cNvPr>
          <p:cNvSpPr/>
          <p:nvPr userDrawn="1"/>
        </p:nvSpPr>
        <p:spPr>
          <a:xfrm>
            <a:off x="916816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3C3E7B-E031-3341-976A-3387FCF32707}"/>
              </a:ext>
            </a:extLst>
          </p:cNvPr>
          <p:cNvSpPr/>
          <p:nvPr userDrawn="1"/>
        </p:nvSpPr>
        <p:spPr>
          <a:xfrm>
            <a:off x="4252762" y="2381751"/>
            <a:ext cx="3050482" cy="3149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635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AFF93DC-EE8D-D34C-9D70-69CB2AD1BED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80555" y="1867463"/>
            <a:ext cx="1029912" cy="1028628"/>
          </a:xfrm>
          <a:prstGeom prst="ellipse">
            <a:avLst/>
          </a:prstGeom>
          <a:solidFill>
            <a:srgbClr val="00ACA8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0732D06-E4B0-6243-B02E-21823D8806E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816410" y="1443038"/>
            <a:ext cx="1273175" cy="1271587"/>
          </a:xfrm>
          <a:prstGeom prst="ellipse">
            <a:avLst/>
          </a:prstGeom>
          <a:solidFill>
            <a:srgbClr val="00A03B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6DCEBD2A-D409-4A48-9C35-1C6BE1407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8733" y="3755905"/>
            <a:ext cx="3151313" cy="1928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5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Aft>
                <a:spcPts val="6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9B13394-DB54-6E49-9368-8BBFF68BBE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72275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1C136F0-48F2-9247-9755-C498C15145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77340" y="3039378"/>
            <a:ext cx="3151313" cy="502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>
              <a:defRPr kumimoji="0" lang="en-GB" sz="33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5623EE6-0E5F-A648-92F2-C5FEF7C664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2275" y="3118300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ACA8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5B9CA-B351-394D-B8F4-E27DB3C00B87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E2A468EE-D383-6347-B47D-CFAA0125ABA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65129" y="1856579"/>
            <a:ext cx="1029912" cy="1028628"/>
          </a:xfrm>
          <a:prstGeom prst="ellipse">
            <a:avLst/>
          </a:prstGeom>
          <a:solidFill>
            <a:srgbClr val="00567A"/>
          </a:solidFill>
        </p:spPr>
        <p:txBody>
          <a:bodyPr vert="horz" lIns="0" tIns="0" rIns="0" bIns="0" rtlCol="0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D701F25-EAA4-6540-BBE3-B441862B78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14081" y="3748940"/>
            <a:ext cx="2608852" cy="16310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defRPr kumimoji="0" lang="en-GB" sz="13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C56F8C8-F77E-F546-9C4E-FDA0A3589B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14081" y="3128729"/>
            <a:ext cx="2608852" cy="50267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defRPr kumimoji="0" lang="en-GB" sz="2700" b="0" i="0" u="none" strike="noStrike" cap="none" spc="0" normalizeH="0" baseline="0" dirty="0">
                <a:ln>
                  <a:noFill/>
                </a:ln>
                <a:solidFill>
                  <a:srgbClr val="00567A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54" name="Slide Number Placeholder 4">
            <a:extLst>
              <a:ext uri="{FF2B5EF4-FFF2-40B4-BE49-F238E27FC236}">
                <a16:creationId xmlns:a16="http://schemas.microsoft.com/office/drawing/2014/main" id="{7B0EE311-92CD-4ACD-8139-4D25E9E719CB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0960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2A10F-D668-4A76-B699-40B3E7E8C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82A10F-D668-4A76-B699-40B3E7E8C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279B64C-68D7-3347-8539-A7A22961661E}"/>
              </a:ext>
            </a:extLst>
          </p:cNvPr>
          <p:cNvSpPr/>
          <p:nvPr userDrawn="1"/>
        </p:nvSpPr>
        <p:spPr>
          <a:xfrm>
            <a:off x="0" y="5157788"/>
            <a:ext cx="12192000" cy="1700211"/>
          </a:xfrm>
          <a:prstGeom prst="rect">
            <a:avLst/>
          </a:prstGeom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0B468-8CA1-B647-ABCB-92BE27B0F184}"/>
              </a:ext>
            </a:extLst>
          </p:cNvPr>
          <p:cNvSpPr/>
          <p:nvPr userDrawn="1"/>
        </p:nvSpPr>
        <p:spPr>
          <a:xfrm>
            <a:off x="-33486" y="6237287"/>
            <a:ext cx="12225486" cy="628649"/>
          </a:xfrm>
          <a:prstGeom prst="rect">
            <a:avLst/>
          </a:prstGeom>
          <a:gradFill>
            <a:gsLst>
              <a:gs pos="0">
                <a:schemeClr val="bg1">
                  <a:lumMod val="0"/>
                  <a:lumOff val="100000"/>
                  <a:alpha val="5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AEFFCC1-795C-6545-B5FC-9C252A0C89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1767" y="6302027"/>
            <a:ext cx="1106133" cy="5139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03713"/>
            <a:ext cx="10693400" cy="63758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defRPr lang="en-US">
                <a:gradFill>
                  <a:gsLst>
                    <a:gs pos="40000">
                      <a:srgbClr val="00A03B"/>
                    </a:gs>
                    <a:gs pos="0">
                      <a:srgbClr val="00A03B"/>
                    </a:gs>
                    <a:gs pos="100000">
                      <a:srgbClr val="AFCB37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2AFCF4-24F3-E14A-91FC-E14EA0E3F09F}"/>
              </a:ext>
            </a:extLst>
          </p:cNvPr>
          <p:cNvSpPr/>
          <p:nvPr userDrawn="1"/>
        </p:nvSpPr>
        <p:spPr>
          <a:xfrm rot="5400000">
            <a:off x="6082843" y="-984858"/>
            <a:ext cx="59802" cy="12225488"/>
          </a:xfrm>
          <a:prstGeom prst="rect">
            <a:avLst/>
          </a:prstGeom>
          <a:gradFill flip="none" rotWithShape="0">
            <a:gsLst>
              <a:gs pos="100000">
                <a:srgbClr val="E8E7E6"/>
              </a:gs>
              <a:gs pos="0">
                <a:srgbClr val="E8E7E6"/>
              </a:gs>
              <a:gs pos="24000">
                <a:srgbClr val="918D91"/>
              </a:gs>
              <a:gs pos="75000">
                <a:srgbClr val="918D91"/>
              </a:gs>
              <a:gs pos="52000">
                <a:srgbClr val="F2F1F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C2268AC-4B1B-0B43-A07A-43414BCD245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376008" y="1526064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A80567-4351-9A45-88B1-5CB88C89F4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76008" y="2201058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1F46158B-9CE0-574C-8AC5-01A2026DC21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376008" y="2876052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95612087-D882-AA47-89A0-777A866AB91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76008" y="3551046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6850ECC-000E-0A48-BD78-460922ECE7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76008" y="4226040"/>
            <a:ext cx="705804" cy="60483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buSzTx/>
              <a:tabLst/>
            </a:pPr>
            <a:r>
              <a:rPr lang="en-GB"/>
              <a:t>Click to add ic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E36877A-CD4A-D043-B20D-BE6311660E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3362" y="1622282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4711AF3-A2A9-CC4E-8C2A-1DD88EB801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70" y="946888"/>
            <a:ext cx="9345018" cy="43129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1" i="0" u="none" strike="noStrike" cap="none" spc="0" normalizeH="0" baseline="0">
                <a:ln>
                  <a:noFill/>
                </a:ln>
                <a:solidFill>
                  <a:srgbClr val="00A03B"/>
                </a:solidFill>
                <a:effectLst/>
                <a:uLnTx/>
                <a:uFillTx/>
                <a:latin typeface="Teva San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2556CE-6B77-6F4B-BF8E-047EEAE163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6008" y="5177357"/>
            <a:ext cx="9439984" cy="1059930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>
              <a:defRPr kumimoji="0" lang="en-GB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sub-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814FFE4-3D7E-1B4D-8678-226F3052E6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3362" y="2297276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7618A235-8142-8441-8F12-7B7860E0A8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43362" y="2972270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1211043-BDC6-0B4A-8E9D-3F96B82CB1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43362" y="3647264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07A5479-D3C6-854E-A36C-85CE577F56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43362" y="4322258"/>
            <a:ext cx="9073925" cy="44897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defRPr kumimoji="0" lang="en-GB" sz="2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Teva Sans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SzTx/>
              <a:tabLst/>
            </a:pPr>
            <a:r>
              <a:rPr lang="en-GB"/>
              <a:t>Click to add tex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DA1BB3-BA42-7C4E-B0BD-2BAB8405330F}"/>
              </a:ext>
            </a:extLst>
          </p:cNvPr>
          <p:cNvSpPr txBox="1"/>
          <p:nvPr userDrawn="1"/>
        </p:nvSpPr>
        <p:spPr>
          <a:xfrm>
            <a:off x="951848" y="6451285"/>
            <a:ext cx="1809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latin typeface="+mj-lt"/>
              </a:rPr>
              <a:t>|</a:t>
            </a:r>
          </a:p>
        </p:txBody>
      </p:sp>
      <p:sp>
        <p:nvSpPr>
          <p:cNvPr id="55" name="Slide Number Placeholder 4">
            <a:extLst>
              <a:ext uri="{FF2B5EF4-FFF2-40B4-BE49-F238E27FC236}">
                <a16:creationId xmlns:a16="http://schemas.microsoft.com/office/drawing/2014/main" id="{798E1D42-0933-47C0-BB86-978C9CC0E41F}"/>
              </a:ext>
            </a:extLst>
          </p:cNvPr>
          <p:cNvSpPr txBox="1">
            <a:spLocks/>
          </p:cNvSpPr>
          <p:nvPr userDrawn="1"/>
        </p:nvSpPr>
        <p:spPr>
          <a:xfrm>
            <a:off x="577849" y="6316662"/>
            <a:ext cx="3079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2832ACA-4727-4D4C-ACEE-24DD06899962}" type="slidenum">
              <a:rPr lang="en-US" smtClean="0"/>
              <a:pPr algn="r"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70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image" Target="../media/image1.emf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tags" Target="../tags/tag2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/Relationships>
</file>

<file path=ppt/slideMasters/_rels/slideMaster1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84.xml"/><Relationship Id="rId21" Type="http://schemas.openxmlformats.org/officeDocument/2006/relationships/slideLayout" Target="../slideLayouts/slideLayout879.xml"/><Relationship Id="rId42" Type="http://schemas.openxmlformats.org/officeDocument/2006/relationships/slideLayout" Target="../slideLayouts/slideLayout900.xml"/><Relationship Id="rId47" Type="http://schemas.openxmlformats.org/officeDocument/2006/relationships/slideLayout" Target="../slideLayouts/slideLayout905.xml"/><Relationship Id="rId63" Type="http://schemas.openxmlformats.org/officeDocument/2006/relationships/slideLayout" Target="../slideLayouts/slideLayout921.xml"/><Relationship Id="rId68" Type="http://schemas.openxmlformats.org/officeDocument/2006/relationships/slideLayout" Target="../slideLayouts/slideLayout926.xml"/><Relationship Id="rId84" Type="http://schemas.openxmlformats.org/officeDocument/2006/relationships/slideLayout" Target="../slideLayouts/slideLayout942.xml"/><Relationship Id="rId89" Type="http://schemas.openxmlformats.org/officeDocument/2006/relationships/oleObject" Target="../embeddings/oleObject1.bin"/><Relationship Id="rId16" Type="http://schemas.openxmlformats.org/officeDocument/2006/relationships/slideLayout" Target="../slideLayouts/slideLayout874.xml"/><Relationship Id="rId11" Type="http://schemas.openxmlformats.org/officeDocument/2006/relationships/slideLayout" Target="../slideLayouts/slideLayout869.xml"/><Relationship Id="rId32" Type="http://schemas.openxmlformats.org/officeDocument/2006/relationships/slideLayout" Target="../slideLayouts/slideLayout890.xml"/><Relationship Id="rId37" Type="http://schemas.openxmlformats.org/officeDocument/2006/relationships/slideLayout" Target="../slideLayouts/slideLayout895.xml"/><Relationship Id="rId53" Type="http://schemas.openxmlformats.org/officeDocument/2006/relationships/slideLayout" Target="../slideLayouts/slideLayout911.xml"/><Relationship Id="rId58" Type="http://schemas.openxmlformats.org/officeDocument/2006/relationships/slideLayout" Target="../slideLayouts/slideLayout916.xml"/><Relationship Id="rId74" Type="http://schemas.openxmlformats.org/officeDocument/2006/relationships/slideLayout" Target="../slideLayouts/slideLayout932.xml"/><Relationship Id="rId79" Type="http://schemas.openxmlformats.org/officeDocument/2006/relationships/slideLayout" Target="../slideLayouts/slideLayout937.xml"/><Relationship Id="rId5" Type="http://schemas.openxmlformats.org/officeDocument/2006/relationships/slideLayout" Target="../slideLayouts/slideLayout863.xml"/><Relationship Id="rId90" Type="http://schemas.openxmlformats.org/officeDocument/2006/relationships/image" Target="../media/image1.emf"/><Relationship Id="rId14" Type="http://schemas.openxmlformats.org/officeDocument/2006/relationships/slideLayout" Target="../slideLayouts/slideLayout872.xml"/><Relationship Id="rId22" Type="http://schemas.openxmlformats.org/officeDocument/2006/relationships/slideLayout" Target="../slideLayouts/slideLayout880.xml"/><Relationship Id="rId27" Type="http://schemas.openxmlformats.org/officeDocument/2006/relationships/slideLayout" Target="../slideLayouts/slideLayout885.xml"/><Relationship Id="rId30" Type="http://schemas.openxmlformats.org/officeDocument/2006/relationships/slideLayout" Target="../slideLayouts/slideLayout888.xml"/><Relationship Id="rId35" Type="http://schemas.openxmlformats.org/officeDocument/2006/relationships/slideLayout" Target="../slideLayouts/slideLayout893.xml"/><Relationship Id="rId43" Type="http://schemas.openxmlformats.org/officeDocument/2006/relationships/slideLayout" Target="../slideLayouts/slideLayout901.xml"/><Relationship Id="rId48" Type="http://schemas.openxmlformats.org/officeDocument/2006/relationships/slideLayout" Target="../slideLayouts/slideLayout906.xml"/><Relationship Id="rId56" Type="http://schemas.openxmlformats.org/officeDocument/2006/relationships/slideLayout" Target="../slideLayouts/slideLayout914.xml"/><Relationship Id="rId64" Type="http://schemas.openxmlformats.org/officeDocument/2006/relationships/slideLayout" Target="../slideLayouts/slideLayout922.xml"/><Relationship Id="rId69" Type="http://schemas.openxmlformats.org/officeDocument/2006/relationships/slideLayout" Target="../slideLayouts/slideLayout927.xml"/><Relationship Id="rId77" Type="http://schemas.openxmlformats.org/officeDocument/2006/relationships/slideLayout" Target="../slideLayouts/slideLayout935.xml"/><Relationship Id="rId8" Type="http://schemas.openxmlformats.org/officeDocument/2006/relationships/slideLayout" Target="../slideLayouts/slideLayout866.xml"/><Relationship Id="rId51" Type="http://schemas.openxmlformats.org/officeDocument/2006/relationships/slideLayout" Target="../slideLayouts/slideLayout909.xml"/><Relationship Id="rId72" Type="http://schemas.openxmlformats.org/officeDocument/2006/relationships/slideLayout" Target="../slideLayouts/slideLayout930.xml"/><Relationship Id="rId80" Type="http://schemas.openxmlformats.org/officeDocument/2006/relationships/slideLayout" Target="../slideLayouts/slideLayout938.xml"/><Relationship Id="rId85" Type="http://schemas.openxmlformats.org/officeDocument/2006/relationships/slideLayout" Target="../slideLayouts/slideLayout943.xml"/><Relationship Id="rId3" Type="http://schemas.openxmlformats.org/officeDocument/2006/relationships/slideLayout" Target="../slideLayouts/slideLayout861.xml"/><Relationship Id="rId12" Type="http://schemas.openxmlformats.org/officeDocument/2006/relationships/slideLayout" Target="../slideLayouts/slideLayout870.xml"/><Relationship Id="rId17" Type="http://schemas.openxmlformats.org/officeDocument/2006/relationships/slideLayout" Target="../slideLayouts/slideLayout875.xml"/><Relationship Id="rId25" Type="http://schemas.openxmlformats.org/officeDocument/2006/relationships/slideLayout" Target="../slideLayouts/slideLayout883.xml"/><Relationship Id="rId33" Type="http://schemas.openxmlformats.org/officeDocument/2006/relationships/slideLayout" Target="../slideLayouts/slideLayout891.xml"/><Relationship Id="rId38" Type="http://schemas.openxmlformats.org/officeDocument/2006/relationships/slideLayout" Target="../slideLayouts/slideLayout896.xml"/><Relationship Id="rId46" Type="http://schemas.openxmlformats.org/officeDocument/2006/relationships/slideLayout" Target="../slideLayouts/slideLayout904.xml"/><Relationship Id="rId59" Type="http://schemas.openxmlformats.org/officeDocument/2006/relationships/slideLayout" Target="../slideLayouts/slideLayout917.xml"/><Relationship Id="rId67" Type="http://schemas.openxmlformats.org/officeDocument/2006/relationships/slideLayout" Target="../slideLayouts/slideLayout925.xml"/><Relationship Id="rId20" Type="http://schemas.openxmlformats.org/officeDocument/2006/relationships/slideLayout" Target="../slideLayouts/slideLayout878.xml"/><Relationship Id="rId41" Type="http://schemas.openxmlformats.org/officeDocument/2006/relationships/slideLayout" Target="../slideLayouts/slideLayout899.xml"/><Relationship Id="rId54" Type="http://schemas.openxmlformats.org/officeDocument/2006/relationships/slideLayout" Target="../slideLayouts/slideLayout912.xml"/><Relationship Id="rId62" Type="http://schemas.openxmlformats.org/officeDocument/2006/relationships/slideLayout" Target="../slideLayouts/slideLayout920.xml"/><Relationship Id="rId70" Type="http://schemas.openxmlformats.org/officeDocument/2006/relationships/slideLayout" Target="../slideLayouts/slideLayout928.xml"/><Relationship Id="rId75" Type="http://schemas.openxmlformats.org/officeDocument/2006/relationships/slideLayout" Target="../slideLayouts/slideLayout933.xml"/><Relationship Id="rId83" Type="http://schemas.openxmlformats.org/officeDocument/2006/relationships/slideLayout" Target="../slideLayouts/slideLayout941.xml"/><Relationship Id="rId88" Type="http://schemas.openxmlformats.org/officeDocument/2006/relationships/tags" Target="../tags/tag828.xml"/><Relationship Id="rId1" Type="http://schemas.openxmlformats.org/officeDocument/2006/relationships/slideLayout" Target="../slideLayouts/slideLayout859.xml"/><Relationship Id="rId6" Type="http://schemas.openxmlformats.org/officeDocument/2006/relationships/slideLayout" Target="../slideLayouts/slideLayout864.xml"/><Relationship Id="rId15" Type="http://schemas.openxmlformats.org/officeDocument/2006/relationships/slideLayout" Target="../slideLayouts/slideLayout873.xml"/><Relationship Id="rId23" Type="http://schemas.openxmlformats.org/officeDocument/2006/relationships/slideLayout" Target="../slideLayouts/slideLayout881.xml"/><Relationship Id="rId28" Type="http://schemas.openxmlformats.org/officeDocument/2006/relationships/slideLayout" Target="../slideLayouts/slideLayout886.xml"/><Relationship Id="rId36" Type="http://schemas.openxmlformats.org/officeDocument/2006/relationships/slideLayout" Target="../slideLayouts/slideLayout894.xml"/><Relationship Id="rId49" Type="http://schemas.openxmlformats.org/officeDocument/2006/relationships/slideLayout" Target="../slideLayouts/slideLayout907.xml"/><Relationship Id="rId57" Type="http://schemas.openxmlformats.org/officeDocument/2006/relationships/slideLayout" Target="../slideLayouts/slideLayout915.xml"/><Relationship Id="rId10" Type="http://schemas.openxmlformats.org/officeDocument/2006/relationships/slideLayout" Target="../slideLayouts/slideLayout868.xml"/><Relationship Id="rId31" Type="http://schemas.openxmlformats.org/officeDocument/2006/relationships/slideLayout" Target="../slideLayouts/slideLayout889.xml"/><Relationship Id="rId44" Type="http://schemas.openxmlformats.org/officeDocument/2006/relationships/slideLayout" Target="../slideLayouts/slideLayout902.xml"/><Relationship Id="rId52" Type="http://schemas.openxmlformats.org/officeDocument/2006/relationships/slideLayout" Target="../slideLayouts/slideLayout910.xml"/><Relationship Id="rId60" Type="http://schemas.openxmlformats.org/officeDocument/2006/relationships/slideLayout" Target="../slideLayouts/slideLayout918.xml"/><Relationship Id="rId65" Type="http://schemas.openxmlformats.org/officeDocument/2006/relationships/slideLayout" Target="../slideLayouts/slideLayout923.xml"/><Relationship Id="rId73" Type="http://schemas.openxmlformats.org/officeDocument/2006/relationships/slideLayout" Target="../slideLayouts/slideLayout931.xml"/><Relationship Id="rId78" Type="http://schemas.openxmlformats.org/officeDocument/2006/relationships/slideLayout" Target="../slideLayouts/slideLayout936.xml"/><Relationship Id="rId81" Type="http://schemas.openxmlformats.org/officeDocument/2006/relationships/slideLayout" Target="../slideLayouts/slideLayout939.xml"/><Relationship Id="rId86" Type="http://schemas.openxmlformats.org/officeDocument/2006/relationships/slideLayout" Target="../slideLayouts/slideLayout944.xml"/><Relationship Id="rId4" Type="http://schemas.openxmlformats.org/officeDocument/2006/relationships/slideLayout" Target="../slideLayouts/slideLayout862.xml"/><Relationship Id="rId9" Type="http://schemas.openxmlformats.org/officeDocument/2006/relationships/slideLayout" Target="../slideLayouts/slideLayout867.xml"/><Relationship Id="rId13" Type="http://schemas.openxmlformats.org/officeDocument/2006/relationships/slideLayout" Target="../slideLayouts/slideLayout871.xml"/><Relationship Id="rId18" Type="http://schemas.openxmlformats.org/officeDocument/2006/relationships/slideLayout" Target="../slideLayouts/slideLayout876.xml"/><Relationship Id="rId39" Type="http://schemas.openxmlformats.org/officeDocument/2006/relationships/slideLayout" Target="../slideLayouts/slideLayout897.xml"/><Relationship Id="rId34" Type="http://schemas.openxmlformats.org/officeDocument/2006/relationships/slideLayout" Target="../slideLayouts/slideLayout892.xml"/><Relationship Id="rId50" Type="http://schemas.openxmlformats.org/officeDocument/2006/relationships/slideLayout" Target="../slideLayouts/slideLayout908.xml"/><Relationship Id="rId55" Type="http://schemas.openxmlformats.org/officeDocument/2006/relationships/slideLayout" Target="../slideLayouts/slideLayout913.xml"/><Relationship Id="rId76" Type="http://schemas.openxmlformats.org/officeDocument/2006/relationships/slideLayout" Target="../slideLayouts/slideLayout934.xml"/><Relationship Id="rId7" Type="http://schemas.openxmlformats.org/officeDocument/2006/relationships/slideLayout" Target="../slideLayouts/slideLayout865.xml"/><Relationship Id="rId71" Type="http://schemas.openxmlformats.org/officeDocument/2006/relationships/slideLayout" Target="../slideLayouts/slideLayout929.xml"/><Relationship Id="rId2" Type="http://schemas.openxmlformats.org/officeDocument/2006/relationships/slideLayout" Target="../slideLayouts/slideLayout860.xml"/><Relationship Id="rId29" Type="http://schemas.openxmlformats.org/officeDocument/2006/relationships/slideLayout" Target="../slideLayouts/slideLayout887.xml"/><Relationship Id="rId24" Type="http://schemas.openxmlformats.org/officeDocument/2006/relationships/slideLayout" Target="../slideLayouts/slideLayout882.xml"/><Relationship Id="rId40" Type="http://schemas.openxmlformats.org/officeDocument/2006/relationships/slideLayout" Target="../slideLayouts/slideLayout898.xml"/><Relationship Id="rId45" Type="http://schemas.openxmlformats.org/officeDocument/2006/relationships/slideLayout" Target="../slideLayouts/slideLayout903.xml"/><Relationship Id="rId66" Type="http://schemas.openxmlformats.org/officeDocument/2006/relationships/slideLayout" Target="../slideLayouts/slideLayout924.xml"/><Relationship Id="rId87" Type="http://schemas.openxmlformats.org/officeDocument/2006/relationships/theme" Target="../theme/theme10.xml"/><Relationship Id="rId61" Type="http://schemas.openxmlformats.org/officeDocument/2006/relationships/slideLayout" Target="../slideLayouts/slideLayout919.xml"/><Relationship Id="rId82" Type="http://schemas.openxmlformats.org/officeDocument/2006/relationships/slideLayout" Target="../slideLayouts/slideLayout940.xml"/><Relationship Id="rId19" Type="http://schemas.openxmlformats.org/officeDocument/2006/relationships/slideLayout" Target="../slideLayouts/slideLayout877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02.xml"/><Relationship Id="rId21" Type="http://schemas.openxmlformats.org/officeDocument/2006/relationships/slideLayout" Target="../slideLayouts/slideLayout106.xml"/><Relationship Id="rId42" Type="http://schemas.openxmlformats.org/officeDocument/2006/relationships/slideLayout" Target="../slideLayouts/slideLayout127.xml"/><Relationship Id="rId63" Type="http://schemas.openxmlformats.org/officeDocument/2006/relationships/slideLayout" Target="../slideLayouts/slideLayout148.xml"/><Relationship Id="rId84" Type="http://schemas.openxmlformats.org/officeDocument/2006/relationships/slideLayout" Target="../slideLayouts/slideLayout169.xml"/><Relationship Id="rId138" Type="http://schemas.openxmlformats.org/officeDocument/2006/relationships/slideLayout" Target="../slideLayouts/slideLayout223.xml"/><Relationship Id="rId159" Type="http://schemas.openxmlformats.org/officeDocument/2006/relationships/slideLayout" Target="../slideLayouts/slideLayout244.xml"/><Relationship Id="rId170" Type="http://schemas.openxmlformats.org/officeDocument/2006/relationships/slideLayout" Target="../slideLayouts/slideLayout255.xml"/><Relationship Id="rId191" Type="http://schemas.openxmlformats.org/officeDocument/2006/relationships/slideLayout" Target="../slideLayouts/slideLayout276.xml"/><Relationship Id="rId205" Type="http://schemas.openxmlformats.org/officeDocument/2006/relationships/slideLayout" Target="../slideLayouts/slideLayout290.xml"/><Relationship Id="rId226" Type="http://schemas.openxmlformats.org/officeDocument/2006/relationships/slideLayout" Target="../slideLayouts/slideLayout311.xml"/><Relationship Id="rId107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17.xml"/><Relationship Id="rId53" Type="http://schemas.openxmlformats.org/officeDocument/2006/relationships/slideLayout" Target="../slideLayouts/slideLayout138.xml"/><Relationship Id="rId74" Type="http://schemas.openxmlformats.org/officeDocument/2006/relationships/slideLayout" Target="../slideLayouts/slideLayout159.xml"/><Relationship Id="rId128" Type="http://schemas.openxmlformats.org/officeDocument/2006/relationships/slideLayout" Target="../slideLayouts/slideLayout213.xml"/><Relationship Id="rId149" Type="http://schemas.openxmlformats.org/officeDocument/2006/relationships/slideLayout" Target="../slideLayouts/slideLayout234.xml"/><Relationship Id="rId5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180.xml"/><Relationship Id="rId160" Type="http://schemas.openxmlformats.org/officeDocument/2006/relationships/slideLayout" Target="../slideLayouts/slideLayout245.xml"/><Relationship Id="rId181" Type="http://schemas.openxmlformats.org/officeDocument/2006/relationships/slideLayout" Target="../slideLayouts/slideLayout266.xml"/><Relationship Id="rId216" Type="http://schemas.openxmlformats.org/officeDocument/2006/relationships/slideLayout" Target="../slideLayouts/slideLayout301.xml"/><Relationship Id="rId237" Type="http://schemas.openxmlformats.org/officeDocument/2006/relationships/oleObject" Target="../embeddings/oleObject82.bin"/><Relationship Id="rId22" Type="http://schemas.openxmlformats.org/officeDocument/2006/relationships/slideLayout" Target="../slideLayouts/slideLayout107.xml"/><Relationship Id="rId43" Type="http://schemas.openxmlformats.org/officeDocument/2006/relationships/slideLayout" Target="../slideLayouts/slideLayout128.xml"/><Relationship Id="rId64" Type="http://schemas.openxmlformats.org/officeDocument/2006/relationships/slideLayout" Target="../slideLayouts/slideLayout149.xml"/><Relationship Id="rId118" Type="http://schemas.openxmlformats.org/officeDocument/2006/relationships/slideLayout" Target="../slideLayouts/slideLayout203.xml"/><Relationship Id="rId139" Type="http://schemas.openxmlformats.org/officeDocument/2006/relationships/slideLayout" Target="../slideLayouts/slideLayout224.xml"/><Relationship Id="rId85" Type="http://schemas.openxmlformats.org/officeDocument/2006/relationships/slideLayout" Target="../slideLayouts/slideLayout170.xml"/><Relationship Id="rId150" Type="http://schemas.openxmlformats.org/officeDocument/2006/relationships/slideLayout" Target="../slideLayouts/slideLayout235.xml"/><Relationship Id="rId171" Type="http://schemas.openxmlformats.org/officeDocument/2006/relationships/slideLayout" Target="../slideLayouts/slideLayout256.xml"/><Relationship Id="rId192" Type="http://schemas.openxmlformats.org/officeDocument/2006/relationships/slideLayout" Target="../slideLayouts/slideLayout277.xml"/><Relationship Id="rId206" Type="http://schemas.openxmlformats.org/officeDocument/2006/relationships/slideLayout" Target="../slideLayouts/slideLayout291.xml"/><Relationship Id="rId227" Type="http://schemas.openxmlformats.org/officeDocument/2006/relationships/slideLayout" Target="../slideLayouts/slideLayout312.xml"/><Relationship Id="rId12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18.xml"/><Relationship Id="rId108" Type="http://schemas.openxmlformats.org/officeDocument/2006/relationships/slideLayout" Target="../slideLayouts/slideLayout193.xml"/><Relationship Id="rId129" Type="http://schemas.openxmlformats.org/officeDocument/2006/relationships/slideLayout" Target="../slideLayouts/slideLayout214.xml"/><Relationship Id="rId54" Type="http://schemas.openxmlformats.org/officeDocument/2006/relationships/slideLayout" Target="../slideLayouts/slideLayout139.xml"/><Relationship Id="rId75" Type="http://schemas.openxmlformats.org/officeDocument/2006/relationships/slideLayout" Target="../slideLayouts/slideLayout160.xml"/><Relationship Id="rId96" Type="http://schemas.openxmlformats.org/officeDocument/2006/relationships/slideLayout" Target="../slideLayouts/slideLayout181.xml"/><Relationship Id="rId140" Type="http://schemas.openxmlformats.org/officeDocument/2006/relationships/slideLayout" Target="../slideLayouts/slideLayout225.xml"/><Relationship Id="rId161" Type="http://schemas.openxmlformats.org/officeDocument/2006/relationships/slideLayout" Target="../slideLayouts/slideLayout246.xml"/><Relationship Id="rId182" Type="http://schemas.openxmlformats.org/officeDocument/2006/relationships/slideLayout" Target="../slideLayouts/slideLayout267.xml"/><Relationship Id="rId217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91.xml"/><Relationship Id="rId238" Type="http://schemas.openxmlformats.org/officeDocument/2006/relationships/image" Target="../media/image1.emf"/><Relationship Id="rId23" Type="http://schemas.openxmlformats.org/officeDocument/2006/relationships/slideLayout" Target="../slideLayouts/slideLayout108.xml"/><Relationship Id="rId119" Type="http://schemas.openxmlformats.org/officeDocument/2006/relationships/slideLayout" Target="../slideLayouts/slideLayout204.xml"/><Relationship Id="rId44" Type="http://schemas.openxmlformats.org/officeDocument/2006/relationships/slideLayout" Target="../slideLayouts/slideLayout129.xml"/><Relationship Id="rId65" Type="http://schemas.openxmlformats.org/officeDocument/2006/relationships/slideLayout" Target="../slideLayouts/slideLayout150.xml"/><Relationship Id="rId86" Type="http://schemas.openxmlformats.org/officeDocument/2006/relationships/slideLayout" Target="../slideLayouts/slideLayout171.xml"/><Relationship Id="rId130" Type="http://schemas.openxmlformats.org/officeDocument/2006/relationships/slideLayout" Target="../slideLayouts/slideLayout215.xml"/><Relationship Id="rId151" Type="http://schemas.openxmlformats.org/officeDocument/2006/relationships/slideLayout" Target="../slideLayouts/slideLayout236.xml"/><Relationship Id="rId172" Type="http://schemas.openxmlformats.org/officeDocument/2006/relationships/slideLayout" Target="../slideLayouts/slideLayout257.xml"/><Relationship Id="rId193" Type="http://schemas.openxmlformats.org/officeDocument/2006/relationships/slideLayout" Target="../slideLayouts/slideLayout278.xml"/><Relationship Id="rId207" Type="http://schemas.openxmlformats.org/officeDocument/2006/relationships/slideLayout" Target="../slideLayouts/slideLayout292.xml"/><Relationship Id="rId228" Type="http://schemas.openxmlformats.org/officeDocument/2006/relationships/slideLayout" Target="../slideLayouts/slideLayout313.xml"/><Relationship Id="rId13" Type="http://schemas.openxmlformats.org/officeDocument/2006/relationships/slideLayout" Target="../slideLayouts/slideLayout98.xml"/><Relationship Id="rId109" Type="http://schemas.openxmlformats.org/officeDocument/2006/relationships/slideLayout" Target="../slideLayouts/slideLayout194.xml"/><Relationship Id="rId34" Type="http://schemas.openxmlformats.org/officeDocument/2006/relationships/slideLayout" Target="../slideLayouts/slideLayout119.xml"/><Relationship Id="rId55" Type="http://schemas.openxmlformats.org/officeDocument/2006/relationships/slideLayout" Target="../slideLayouts/slideLayout140.xml"/><Relationship Id="rId76" Type="http://schemas.openxmlformats.org/officeDocument/2006/relationships/slideLayout" Target="../slideLayouts/slideLayout161.xml"/><Relationship Id="rId97" Type="http://schemas.openxmlformats.org/officeDocument/2006/relationships/slideLayout" Target="../slideLayouts/slideLayout182.xml"/><Relationship Id="rId120" Type="http://schemas.openxmlformats.org/officeDocument/2006/relationships/slideLayout" Target="../slideLayouts/slideLayout205.xml"/><Relationship Id="rId141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247.xml"/><Relationship Id="rId183" Type="http://schemas.openxmlformats.org/officeDocument/2006/relationships/slideLayout" Target="../slideLayouts/slideLayout268.xml"/><Relationship Id="rId218" Type="http://schemas.openxmlformats.org/officeDocument/2006/relationships/slideLayout" Target="../slideLayouts/slideLayout303.xml"/><Relationship Id="rId24" Type="http://schemas.openxmlformats.org/officeDocument/2006/relationships/slideLayout" Target="../slideLayouts/slideLayout109.xml"/><Relationship Id="rId45" Type="http://schemas.openxmlformats.org/officeDocument/2006/relationships/slideLayout" Target="../slideLayouts/slideLayout130.xml"/><Relationship Id="rId66" Type="http://schemas.openxmlformats.org/officeDocument/2006/relationships/slideLayout" Target="../slideLayouts/slideLayout151.xml"/><Relationship Id="rId87" Type="http://schemas.openxmlformats.org/officeDocument/2006/relationships/slideLayout" Target="../slideLayouts/slideLayout172.xml"/><Relationship Id="rId110" Type="http://schemas.openxmlformats.org/officeDocument/2006/relationships/slideLayout" Target="../slideLayouts/slideLayout195.xml"/><Relationship Id="rId131" Type="http://schemas.openxmlformats.org/officeDocument/2006/relationships/slideLayout" Target="../slideLayouts/slideLayout216.xml"/><Relationship Id="rId152" Type="http://schemas.openxmlformats.org/officeDocument/2006/relationships/slideLayout" Target="../slideLayouts/slideLayout237.xml"/><Relationship Id="rId173" Type="http://schemas.openxmlformats.org/officeDocument/2006/relationships/slideLayout" Target="../slideLayouts/slideLayout258.xml"/><Relationship Id="rId194" Type="http://schemas.openxmlformats.org/officeDocument/2006/relationships/slideLayout" Target="../slideLayouts/slideLayout279.xml"/><Relationship Id="rId208" Type="http://schemas.openxmlformats.org/officeDocument/2006/relationships/slideLayout" Target="../slideLayouts/slideLayout293.xml"/><Relationship Id="rId229" Type="http://schemas.openxmlformats.org/officeDocument/2006/relationships/slideLayout" Target="../slideLayouts/slideLayout314.xml"/><Relationship Id="rId14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20.xml"/><Relationship Id="rId56" Type="http://schemas.openxmlformats.org/officeDocument/2006/relationships/slideLayout" Target="../slideLayouts/slideLayout141.xml"/><Relationship Id="rId77" Type="http://schemas.openxmlformats.org/officeDocument/2006/relationships/slideLayout" Target="../slideLayouts/slideLayout162.xml"/><Relationship Id="rId100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183.xml"/><Relationship Id="rId121" Type="http://schemas.openxmlformats.org/officeDocument/2006/relationships/slideLayout" Target="../slideLayouts/slideLayout206.xml"/><Relationship Id="rId142" Type="http://schemas.openxmlformats.org/officeDocument/2006/relationships/slideLayout" Target="../slideLayouts/slideLayout227.xml"/><Relationship Id="rId163" Type="http://schemas.openxmlformats.org/officeDocument/2006/relationships/slideLayout" Target="../slideLayouts/slideLayout248.xml"/><Relationship Id="rId184" Type="http://schemas.openxmlformats.org/officeDocument/2006/relationships/slideLayout" Target="../slideLayouts/slideLayout269.xml"/><Relationship Id="rId219" Type="http://schemas.openxmlformats.org/officeDocument/2006/relationships/slideLayout" Target="../slideLayouts/slideLayout304.xml"/><Relationship Id="rId230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110.xml"/><Relationship Id="rId46" Type="http://schemas.openxmlformats.org/officeDocument/2006/relationships/slideLayout" Target="../slideLayouts/slideLayout131.xml"/><Relationship Id="rId67" Type="http://schemas.openxmlformats.org/officeDocument/2006/relationships/slideLayout" Target="../slideLayouts/slideLayout152.xml"/><Relationship Id="rId88" Type="http://schemas.openxmlformats.org/officeDocument/2006/relationships/slideLayout" Target="../slideLayouts/slideLayout173.xml"/><Relationship Id="rId111" Type="http://schemas.openxmlformats.org/officeDocument/2006/relationships/slideLayout" Target="../slideLayouts/slideLayout196.xml"/><Relationship Id="rId132" Type="http://schemas.openxmlformats.org/officeDocument/2006/relationships/slideLayout" Target="../slideLayouts/slideLayout217.xml"/><Relationship Id="rId153" Type="http://schemas.openxmlformats.org/officeDocument/2006/relationships/slideLayout" Target="../slideLayouts/slideLayout238.xml"/><Relationship Id="rId174" Type="http://schemas.openxmlformats.org/officeDocument/2006/relationships/slideLayout" Target="../slideLayouts/slideLayout259.xml"/><Relationship Id="rId195" Type="http://schemas.openxmlformats.org/officeDocument/2006/relationships/slideLayout" Target="../slideLayouts/slideLayout280.xml"/><Relationship Id="rId209" Type="http://schemas.openxmlformats.org/officeDocument/2006/relationships/slideLayout" Target="../slideLayouts/slideLayout294.xml"/><Relationship Id="rId190" Type="http://schemas.openxmlformats.org/officeDocument/2006/relationships/slideLayout" Target="../slideLayouts/slideLayout275.xml"/><Relationship Id="rId204" Type="http://schemas.openxmlformats.org/officeDocument/2006/relationships/slideLayout" Target="../slideLayouts/slideLayout289.xml"/><Relationship Id="rId220" Type="http://schemas.openxmlformats.org/officeDocument/2006/relationships/slideLayout" Target="../slideLayouts/slideLayout305.xml"/><Relationship Id="rId225" Type="http://schemas.openxmlformats.org/officeDocument/2006/relationships/slideLayout" Target="../slideLayouts/slideLayout310.xml"/><Relationship Id="rId15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21.xml"/><Relationship Id="rId57" Type="http://schemas.openxmlformats.org/officeDocument/2006/relationships/slideLayout" Target="../slideLayouts/slideLayout142.xml"/><Relationship Id="rId106" Type="http://schemas.openxmlformats.org/officeDocument/2006/relationships/slideLayout" Target="../slideLayouts/slideLayout191.xml"/><Relationship Id="rId127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16.xml"/><Relationship Id="rId52" Type="http://schemas.openxmlformats.org/officeDocument/2006/relationships/slideLayout" Target="../slideLayouts/slideLayout137.xml"/><Relationship Id="rId73" Type="http://schemas.openxmlformats.org/officeDocument/2006/relationships/slideLayout" Target="../slideLayouts/slideLayout158.xml"/><Relationship Id="rId78" Type="http://schemas.openxmlformats.org/officeDocument/2006/relationships/slideLayout" Target="../slideLayouts/slideLayout163.xml"/><Relationship Id="rId94" Type="http://schemas.openxmlformats.org/officeDocument/2006/relationships/slideLayout" Target="../slideLayouts/slideLayout179.xml"/><Relationship Id="rId99" Type="http://schemas.openxmlformats.org/officeDocument/2006/relationships/slideLayout" Target="../slideLayouts/slideLayout184.xml"/><Relationship Id="rId101" Type="http://schemas.openxmlformats.org/officeDocument/2006/relationships/slideLayout" Target="../slideLayouts/slideLayout186.xml"/><Relationship Id="rId122" Type="http://schemas.openxmlformats.org/officeDocument/2006/relationships/slideLayout" Target="../slideLayouts/slideLayout207.xml"/><Relationship Id="rId143" Type="http://schemas.openxmlformats.org/officeDocument/2006/relationships/slideLayout" Target="../slideLayouts/slideLayout228.xml"/><Relationship Id="rId148" Type="http://schemas.openxmlformats.org/officeDocument/2006/relationships/slideLayout" Target="../slideLayouts/slideLayout233.xml"/><Relationship Id="rId164" Type="http://schemas.openxmlformats.org/officeDocument/2006/relationships/slideLayout" Target="../slideLayouts/slideLayout249.xml"/><Relationship Id="rId169" Type="http://schemas.openxmlformats.org/officeDocument/2006/relationships/slideLayout" Target="../slideLayouts/slideLayout254.xml"/><Relationship Id="rId185" Type="http://schemas.openxmlformats.org/officeDocument/2006/relationships/slideLayout" Target="../slideLayouts/slideLayout270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80" Type="http://schemas.openxmlformats.org/officeDocument/2006/relationships/slideLayout" Target="../slideLayouts/slideLayout265.xml"/><Relationship Id="rId210" Type="http://schemas.openxmlformats.org/officeDocument/2006/relationships/slideLayout" Target="../slideLayouts/slideLayout295.xml"/><Relationship Id="rId215" Type="http://schemas.openxmlformats.org/officeDocument/2006/relationships/slideLayout" Target="../slideLayouts/slideLayout300.xml"/><Relationship Id="rId236" Type="http://schemas.openxmlformats.org/officeDocument/2006/relationships/tags" Target="../tags/tag87.xml"/><Relationship Id="rId26" Type="http://schemas.openxmlformats.org/officeDocument/2006/relationships/slideLayout" Target="../slideLayouts/slideLayout111.xml"/><Relationship Id="rId231" Type="http://schemas.openxmlformats.org/officeDocument/2006/relationships/slideLayout" Target="../slideLayouts/slideLayout316.xml"/><Relationship Id="rId47" Type="http://schemas.openxmlformats.org/officeDocument/2006/relationships/slideLayout" Target="../slideLayouts/slideLayout132.xml"/><Relationship Id="rId68" Type="http://schemas.openxmlformats.org/officeDocument/2006/relationships/slideLayout" Target="../slideLayouts/slideLayout153.xml"/><Relationship Id="rId89" Type="http://schemas.openxmlformats.org/officeDocument/2006/relationships/slideLayout" Target="../slideLayouts/slideLayout174.xml"/><Relationship Id="rId112" Type="http://schemas.openxmlformats.org/officeDocument/2006/relationships/slideLayout" Target="../slideLayouts/slideLayout197.xml"/><Relationship Id="rId133" Type="http://schemas.openxmlformats.org/officeDocument/2006/relationships/slideLayout" Target="../slideLayouts/slideLayout218.xml"/><Relationship Id="rId154" Type="http://schemas.openxmlformats.org/officeDocument/2006/relationships/slideLayout" Target="../slideLayouts/slideLayout239.xml"/><Relationship Id="rId175" Type="http://schemas.openxmlformats.org/officeDocument/2006/relationships/slideLayout" Target="../slideLayouts/slideLayout260.xml"/><Relationship Id="rId196" Type="http://schemas.openxmlformats.org/officeDocument/2006/relationships/slideLayout" Target="../slideLayouts/slideLayout281.xml"/><Relationship Id="rId200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101.xml"/><Relationship Id="rId221" Type="http://schemas.openxmlformats.org/officeDocument/2006/relationships/slideLayout" Target="../slideLayouts/slideLayout306.xml"/><Relationship Id="rId37" Type="http://schemas.openxmlformats.org/officeDocument/2006/relationships/slideLayout" Target="../slideLayouts/slideLayout122.xml"/><Relationship Id="rId58" Type="http://schemas.openxmlformats.org/officeDocument/2006/relationships/slideLayout" Target="../slideLayouts/slideLayout143.xml"/><Relationship Id="rId79" Type="http://schemas.openxmlformats.org/officeDocument/2006/relationships/slideLayout" Target="../slideLayouts/slideLayout164.xml"/><Relationship Id="rId102" Type="http://schemas.openxmlformats.org/officeDocument/2006/relationships/slideLayout" Target="../slideLayouts/slideLayout187.xml"/><Relationship Id="rId123" Type="http://schemas.openxmlformats.org/officeDocument/2006/relationships/slideLayout" Target="../slideLayouts/slideLayout208.xml"/><Relationship Id="rId144" Type="http://schemas.openxmlformats.org/officeDocument/2006/relationships/slideLayout" Target="../slideLayouts/slideLayout229.xml"/><Relationship Id="rId90" Type="http://schemas.openxmlformats.org/officeDocument/2006/relationships/slideLayout" Target="../slideLayouts/slideLayout175.xml"/><Relationship Id="rId165" Type="http://schemas.openxmlformats.org/officeDocument/2006/relationships/slideLayout" Target="../slideLayouts/slideLayout250.xml"/><Relationship Id="rId186" Type="http://schemas.openxmlformats.org/officeDocument/2006/relationships/slideLayout" Target="../slideLayouts/slideLayout271.xml"/><Relationship Id="rId211" Type="http://schemas.openxmlformats.org/officeDocument/2006/relationships/slideLayout" Target="../slideLayouts/slideLayout296.xml"/><Relationship Id="rId232" Type="http://schemas.openxmlformats.org/officeDocument/2006/relationships/slideLayout" Target="../slideLayouts/slideLayout317.xml"/><Relationship Id="rId27" Type="http://schemas.openxmlformats.org/officeDocument/2006/relationships/slideLayout" Target="../slideLayouts/slideLayout112.xml"/><Relationship Id="rId48" Type="http://schemas.openxmlformats.org/officeDocument/2006/relationships/slideLayout" Target="../slideLayouts/slideLayout133.xml"/><Relationship Id="rId69" Type="http://schemas.openxmlformats.org/officeDocument/2006/relationships/slideLayout" Target="../slideLayouts/slideLayout154.xml"/><Relationship Id="rId113" Type="http://schemas.openxmlformats.org/officeDocument/2006/relationships/slideLayout" Target="../slideLayouts/slideLayout198.xml"/><Relationship Id="rId134" Type="http://schemas.openxmlformats.org/officeDocument/2006/relationships/slideLayout" Target="../slideLayouts/slideLayout219.xml"/><Relationship Id="rId80" Type="http://schemas.openxmlformats.org/officeDocument/2006/relationships/slideLayout" Target="../slideLayouts/slideLayout165.xml"/><Relationship Id="rId155" Type="http://schemas.openxmlformats.org/officeDocument/2006/relationships/slideLayout" Target="../slideLayouts/slideLayout240.xml"/><Relationship Id="rId176" Type="http://schemas.openxmlformats.org/officeDocument/2006/relationships/slideLayout" Target="../slideLayouts/slideLayout261.xml"/><Relationship Id="rId197" Type="http://schemas.openxmlformats.org/officeDocument/2006/relationships/slideLayout" Target="../slideLayouts/slideLayout282.xml"/><Relationship Id="rId201" Type="http://schemas.openxmlformats.org/officeDocument/2006/relationships/slideLayout" Target="../slideLayouts/slideLayout286.xml"/><Relationship Id="rId222" Type="http://schemas.openxmlformats.org/officeDocument/2006/relationships/slideLayout" Target="../slideLayouts/slideLayout307.xml"/><Relationship Id="rId17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23.xml"/><Relationship Id="rId59" Type="http://schemas.openxmlformats.org/officeDocument/2006/relationships/slideLayout" Target="../slideLayouts/slideLayout144.xml"/><Relationship Id="rId103" Type="http://schemas.openxmlformats.org/officeDocument/2006/relationships/slideLayout" Target="../slideLayouts/slideLayout188.xml"/><Relationship Id="rId124" Type="http://schemas.openxmlformats.org/officeDocument/2006/relationships/slideLayout" Target="../slideLayouts/slideLayout209.xml"/><Relationship Id="rId70" Type="http://schemas.openxmlformats.org/officeDocument/2006/relationships/slideLayout" Target="../slideLayouts/slideLayout155.xml"/><Relationship Id="rId91" Type="http://schemas.openxmlformats.org/officeDocument/2006/relationships/slideLayout" Target="../slideLayouts/slideLayout176.xml"/><Relationship Id="rId145" Type="http://schemas.openxmlformats.org/officeDocument/2006/relationships/slideLayout" Target="../slideLayouts/slideLayout230.xml"/><Relationship Id="rId166" Type="http://schemas.openxmlformats.org/officeDocument/2006/relationships/slideLayout" Target="../slideLayouts/slideLayout251.xml"/><Relationship Id="rId187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86.xml"/><Relationship Id="rId212" Type="http://schemas.openxmlformats.org/officeDocument/2006/relationships/slideLayout" Target="../slideLayouts/slideLayout297.xml"/><Relationship Id="rId233" Type="http://schemas.openxmlformats.org/officeDocument/2006/relationships/slideLayout" Target="../slideLayouts/slideLayout318.xml"/><Relationship Id="rId28" Type="http://schemas.openxmlformats.org/officeDocument/2006/relationships/slideLayout" Target="../slideLayouts/slideLayout113.xml"/><Relationship Id="rId49" Type="http://schemas.openxmlformats.org/officeDocument/2006/relationships/slideLayout" Target="../slideLayouts/slideLayout134.xml"/><Relationship Id="rId114" Type="http://schemas.openxmlformats.org/officeDocument/2006/relationships/slideLayout" Target="../slideLayouts/slideLayout199.xml"/><Relationship Id="rId60" Type="http://schemas.openxmlformats.org/officeDocument/2006/relationships/slideLayout" Target="../slideLayouts/slideLayout145.xml"/><Relationship Id="rId81" Type="http://schemas.openxmlformats.org/officeDocument/2006/relationships/slideLayout" Target="../slideLayouts/slideLayout166.xml"/><Relationship Id="rId135" Type="http://schemas.openxmlformats.org/officeDocument/2006/relationships/slideLayout" Target="../slideLayouts/slideLayout220.xml"/><Relationship Id="rId156" Type="http://schemas.openxmlformats.org/officeDocument/2006/relationships/slideLayout" Target="../slideLayouts/slideLayout241.xml"/><Relationship Id="rId177" Type="http://schemas.openxmlformats.org/officeDocument/2006/relationships/slideLayout" Target="../slideLayouts/slideLayout262.xml"/><Relationship Id="rId198" Type="http://schemas.openxmlformats.org/officeDocument/2006/relationships/slideLayout" Target="../slideLayouts/slideLayout283.xml"/><Relationship Id="rId202" Type="http://schemas.openxmlformats.org/officeDocument/2006/relationships/slideLayout" Target="../slideLayouts/slideLayout287.xml"/><Relationship Id="rId223" Type="http://schemas.openxmlformats.org/officeDocument/2006/relationships/slideLayout" Target="../slideLayouts/slideLayout308.xml"/><Relationship Id="rId18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24.xml"/><Relationship Id="rId50" Type="http://schemas.openxmlformats.org/officeDocument/2006/relationships/slideLayout" Target="../slideLayouts/slideLayout135.xml"/><Relationship Id="rId104" Type="http://schemas.openxmlformats.org/officeDocument/2006/relationships/slideLayout" Target="../slideLayouts/slideLayout189.xml"/><Relationship Id="rId125" Type="http://schemas.openxmlformats.org/officeDocument/2006/relationships/slideLayout" Target="../slideLayouts/slideLayout210.xml"/><Relationship Id="rId146" Type="http://schemas.openxmlformats.org/officeDocument/2006/relationships/slideLayout" Target="../slideLayouts/slideLayout231.xml"/><Relationship Id="rId167" Type="http://schemas.openxmlformats.org/officeDocument/2006/relationships/slideLayout" Target="../slideLayouts/slideLayout252.xml"/><Relationship Id="rId188" Type="http://schemas.openxmlformats.org/officeDocument/2006/relationships/slideLayout" Target="../slideLayouts/slideLayout273.xml"/><Relationship Id="rId71" Type="http://schemas.openxmlformats.org/officeDocument/2006/relationships/slideLayout" Target="../slideLayouts/slideLayout156.xml"/><Relationship Id="rId92" Type="http://schemas.openxmlformats.org/officeDocument/2006/relationships/slideLayout" Target="../slideLayouts/slideLayout177.xml"/><Relationship Id="rId213" Type="http://schemas.openxmlformats.org/officeDocument/2006/relationships/slideLayout" Target="../slideLayouts/slideLayout298.xml"/><Relationship Id="rId234" Type="http://schemas.openxmlformats.org/officeDocument/2006/relationships/slideLayout" Target="../slideLayouts/slideLayout319.xml"/><Relationship Id="rId2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25.xml"/><Relationship Id="rId115" Type="http://schemas.openxmlformats.org/officeDocument/2006/relationships/slideLayout" Target="../slideLayouts/slideLayout200.xml"/><Relationship Id="rId136" Type="http://schemas.openxmlformats.org/officeDocument/2006/relationships/slideLayout" Target="../slideLayouts/slideLayout221.xml"/><Relationship Id="rId157" Type="http://schemas.openxmlformats.org/officeDocument/2006/relationships/slideLayout" Target="../slideLayouts/slideLayout242.xml"/><Relationship Id="rId178" Type="http://schemas.openxmlformats.org/officeDocument/2006/relationships/slideLayout" Target="../slideLayouts/slideLayout263.xml"/><Relationship Id="rId61" Type="http://schemas.openxmlformats.org/officeDocument/2006/relationships/slideLayout" Target="../slideLayouts/slideLayout146.xml"/><Relationship Id="rId82" Type="http://schemas.openxmlformats.org/officeDocument/2006/relationships/slideLayout" Target="../slideLayouts/slideLayout167.xml"/><Relationship Id="rId199" Type="http://schemas.openxmlformats.org/officeDocument/2006/relationships/slideLayout" Target="../slideLayouts/slideLayout284.xml"/><Relationship Id="rId203" Type="http://schemas.openxmlformats.org/officeDocument/2006/relationships/slideLayout" Target="../slideLayouts/slideLayout288.xml"/><Relationship Id="rId19" Type="http://schemas.openxmlformats.org/officeDocument/2006/relationships/slideLayout" Target="../slideLayouts/slideLayout104.xml"/><Relationship Id="rId224" Type="http://schemas.openxmlformats.org/officeDocument/2006/relationships/slideLayout" Target="../slideLayouts/slideLayout309.xml"/><Relationship Id="rId30" Type="http://schemas.openxmlformats.org/officeDocument/2006/relationships/slideLayout" Target="../slideLayouts/slideLayout115.xml"/><Relationship Id="rId105" Type="http://schemas.openxmlformats.org/officeDocument/2006/relationships/slideLayout" Target="../slideLayouts/slideLayout190.xml"/><Relationship Id="rId126" Type="http://schemas.openxmlformats.org/officeDocument/2006/relationships/slideLayout" Target="../slideLayouts/slideLayout211.xml"/><Relationship Id="rId147" Type="http://schemas.openxmlformats.org/officeDocument/2006/relationships/slideLayout" Target="../slideLayouts/slideLayout232.xml"/><Relationship Id="rId168" Type="http://schemas.openxmlformats.org/officeDocument/2006/relationships/slideLayout" Target="../slideLayouts/slideLayout253.xml"/><Relationship Id="rId51" Type="http://schemas.openxmlformats.org/officeDocument/2006/relationships/slideLayout" Target="../slideLayouts/slideLayout136.xml"/><Relationship Id="rId72" Type="http://schemas.openxmlformats.org/officeDocument/2006/relationships/slideLayout" Target="../slideLayouts/slideLayout157.xml"/><Relationship Id="rId93" Type="http://schemas.openxmlformats.org/officeDocument/2006/relationships/slideLayout" Target="../slideLayouts/slideLayout178.xml"/><Relationship Id="rId189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88.xml"/><Relationship Id="rId214" Type="http://schemas.openxmlformats.org/officeDocument/2006/relationships/slideLayout" Target="../slideLayouts/slideLayout299.xml"/><Relationship Id="rId235" Type="http://schemas.openxmlformats.org/officeDocument/2006/relationships/theme" Target="../theme/theme2.xml"/><Relationship Id="rId116" Type="http://schemas.openxmlformats.org/officeDocument/2006/relationships/slideLayout" Target="../slideLayouts/slideLayout201.xml"/><Relationship Id="rId137" Type="http://schemas.openxmlformats.org/officeDocument/2006/relationships/slideLayout" Target="../slideLayouts/slideLayout222.xml"/><Relationship Id="rId158" Type="http://schemas.openxmlformats.org/officeDocument/2006/relationships/slideLayout" Target="../slideLayouts/slideLayout243.xml"/><Relationship Id="rId20" Type="http://schemas.openxmlformats.org/officeDocument/2006/relationships/slideLayout" Target="../slideLayouts/slideLayout105.xml"/><Relationship Id="rId41" Type="http://schemas.openxmlformats.org/officeDocument/2006/relationships/slideLayout" Target="../slideLayouts/slideLayout126.xml"/><Relationship Id="rId62" Type="http://schemas.openxmlformats.org/officeDocument/2006/relationships/slideLayout" Target="../slideLayouts/slideLayout147.xml"/><Relationship Id="rId83" Type="http://schemas.openxmlformats.org/officeDocument/2006/relationships/slideLayout" Target="../slideLayouts/slideLayout168.xml"/><Relationship Id="rId179" Type="http://schemas.openxmlformats.org/officeDocument/2006/relationships/slideLayout" Target="../slideLayouts/slideLayout264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45.xml"/><Relationship Id="rId21" Type="http://schemas.openxmlformats.org/officeDocument/2006/relationships/slideLayout" Target="../slideLayouts/slideLayout340.xml"/><Relationship Id="rId42" Type="http://schemas.openxmlformats.org/officeDocument/2006/relationships/slideLayout" Target="../slideLayouts/slideLayout361.xml"/><Relationship Id="rId47" Type="http://schemas.openxmlformats.org/officeDocument/2006/relationships/slideLayout" Target="../slideLayouts/slideLayout366.xml"/><Relationship Id="rId63" Type="http://schemas.openxmlformats.org/officeDocument/2006/relationships/slideLayout" Target="../slideLayouts/slideLayout382.xml"/><Relationship Id="rId68" Type="http://schemas.openxmlformats.org/officeDocument/2006/relationships/slideLayout" Target="../slideLayouts/slideLayout387.xml"/><Relationship Id="rId84" Type="http://schemas.openxmlformats.org/officeDocument/2006/relationships/slideLayout" Target="../slideLayouts/slideLayout403.xml"/><Relationship Id="rId16" Type="http://schemas.openxmlformats.org/officeDocument/2006/relationships/slideLayout" Target="../slideLayouts/slideLayout335.xml"/><Relationship Id="rId11" Type="http://schemas.openxmlformats.org/officeDocument/2006/relationships/slideLayout" Target="../slideLayouts/slideLayout330.xml"/><Relationship Id="rId32" Type="http://schemas.openxmlformats.org/officeDocument/2006/relationships/slideLayout" Target="../slideLayouts/slideLayout351.xml"/><Relationship Id="rId37" Type="http://schemas.openxmlformats.org/officeDocument/2006/relationships/slideLayout" Target="../slideLayouts/slideLayout356.xml"/><Relationship Id="rId53" Type="http://schemas.openxmlformats.org/officeDocument/2006/relationships/slideLayout" Target="../slideLayouts/slideLayout372.xml"/><Relationship Id="rId58" Type="http://schemas.openxmlformats.org/officeDocument/2006/relationships/slideLayout" Target="../slideLayouts/slideLayout377.xml"/><Relationship Id="rId74" Type="http://schemas.openxmlformats.org/officeDocument/2006/relationships/slideLayout" Target="../slideLayouts/slideLayout393.xml"/><Relationship Id="rId79" Type="http://schemas.openxmlformats.org/officeDocument/2006/relationships/slideLayout" Target="../slideLayouts/slideLayout398.xml"/><Relationship Id="rId5" Type="http://schemas.openxmlformats.org/officeDocument/2006/relationships/slideLayout" Target="../slideLayouts/slideLayout324.xml"/><Relationship Id="rId19" Type="http://schemas.openxmlformats.org/officeDocument/2006/relationships/slideLayout" Target="../slideLayouts/slideLayout338.xml"/><Relationship Id="rId14" Type="http://schemas.openxmlformats.org/officeDocument/2006/relationships/slideLayout" Target="../slideLayouts/slideLayout333.xml"/><Relationship Id="rId22" Type="http://schemas.openxmlformats.org/officeDocument/2006/relationships/slideLayout" Target="../slideLayouts/slideLayout341.xml"/><Relationship Id="rId27" Type="http://schemas.openxmlformats.org/officeDocument/2006/relationships/slideLayout" Target="../slideLayouts/slideLayout346.xml"/><Relationship Id="rId30" Type="http://schemas.openxmlformats.org/officeDocument/2006/relationships/slideLayout" Target="../slideLayouts/slideLayout349.xml"/><Relationship Id="rId35" Type="http://schemas.openxmlformats.org/officeDocument/2006/relationships/slideLayout" Target="../slideLayouts/slideLayout354.xml"/><Relationship Id="rId43" Type="http://schemas.openxmlformats.org/officeDocument/2006/relationships/slideLayout" Target="../slideLayouts/slideLayout362.xml"/><Relationship Id="rId48" Type="http://schemas.openxmlformats.org/officeDocument/2006/relationships/slideLayout" Target="../slideLayouts/slideLayout367.xml"/><Relationship Id="rId56" Type="http://schemas.openxmlformats.org/officeDocument/2006/relationships/slideLayout" Target="../slideLayouts/slideLayout375.xml"/><Relationship Id="rId64" Type="http://schemas.openxmlformats.org/officeDocument/2006/relationships/slideLayout" Target="../slideLayouts/slideLayout383.xml"/><Relationship Id="rId69" Type="http://schemas.openxmlformats.org/officeDocument/2006/relationships/slideLayout" Target="../slideLayouts/slideLayout388.xml"/><Relationship Id="rId77" Type="http://schemas.openxmlformats.org/officeDocument/2006/relationships/slideLayout" Target="../slideLayouts/slideLayout396.xml"/><Relationship Id="rId8" Type="http://schemas.openxmlformats.org/officeDocument/2006/relationships/slideLayout" Target="../slideLayouts/slideLayout327.xml"/><Relationship Id="rId51" Type="http://schemas.openxmlformats.org/officeDocument/2006/relationships/slideLayout" Target="../slideLayouts/slideLayout370.xml"/><Relationship Id="rId72" Type="http://schemas.openxmlformats.org/officeDocument/2006/relationships/slideLayout" Target="../slideLayouts/slideLayout391.xml"/><Relationship Id="rId80" Type="http://schemas.openxmlformats.org/officeDocument/2006/relationships/slideLayout" Target="../slideLayouts/slideLayout399.xml"/><Relationship Id="rId85" Type="http://schemas.openxmlformats.org/officeDocument/2006/relationships/theme" Target="../theme/theme3.xml"/><Relationship Id="rId3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31.xml"/><Relationship Id="rId17" Type="http://schemas.openxmlformats.org/officeDocument/2006/relationships/slideLayout" Target="../slideLayouts/slideLayout336.xml"/><Relationship Id="rId25" Type="http://schemas.openxmlformats.org/officeDocument/2006/relationships/slideLayout" Target="../slideLayouts/slideLayout344.xml"/><Relationship Id="rId33" Type="http://schemas.openxmlformats.org/officeDocument/2006/relationships/slideLayout" Target="../slideLayouts/slideLayout352.xml"/><Relationship Id="rId38" Type="http://schemas.openxmlformats.org/officeDocument/2006/relationships/slideLayout" Target="../slideLayouts/slideLayout357.xml"/><Relationship Id="rId46" Type="http://schemas.openxmlformats.org/officeDocument/2006/relationships/slideLayout" Target="../slideLayouts/slideLayout365.xml"/><Relationship Id="rId59" Type="http://schemas.openxmlformats.org/officeDocument/2006/relationships/slideLayout" Target="../slideLayouts/slideLayout378.xml"/><Relationship Id="rId67" Type="http://schemas.openxmlformats.org/officeDocument/2006/relationships/slideLayout" Target="../slideLayouts/slideLayout386.xml"/><Relationship Id="rId20" Type="http://schemas.openxmlformats.org/officeDocument/2006/relationships/slideLayout" Target="../slideLayouts/slideLayout339.xml"/><Relationship Id="rId41" Type="http://schemas.openxmlformats.org/officeDocument/2006/relationships/slideLayout" Target="../slideLayouts/slideLayout360.xml"/><Relationship Id="rId54" Type="http://schemas.openxmlformats.org/officeDocument/2006/relationships/slideLayout" Target="../slideLayouts/slideLayout373.xml"/><Relationship Id="rId62" Type="http://schemas.openxmlformats.org/officeDocument/2006/relationships/slideLayout" Target="../slideLayouts/slideLayout381.xml"/><Relationship Id="rId70" Type="http://schemas.openxmlformats.org/officeDocument/2006/relationships/slideLayout" Target="../slideLayouts/slideLayout389.xml"/><Relationship Id="rId75" Type="http://schemas.openxmlformats.org/officeDocument/2006/relationships/slideLayout" Target="../slideLayouts/slideLayout394.xml"/><Relationship Id="rId83" Type="http://schemas.openxmlformats.org/officeDocument/2006/relationships/slideLayout" Target="../slideLayouts/slideLayout402.xml"/><Relationship Id="rId88" Type="http://schemas.openxmlformats.org/officeDocument/2006/relationships/image" Target="../media/image1.emf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5" Type="http://schemas.openxmlformats.org/officeDocument/2006/relationships/slideLayout" Target="../slideLayouts/slideLayout334.xml"/><Relationship Id="rId23" Type="http://schemas.openxmlformats.org/officeDocument/2006/relationships/slideLayout" Target="../slideLayouts/slideLayout342.xml"/><Relationship Id="rId28" Type="http://schemas.openxmlformats.org/officeDocument/2006/relationships/slideLayout" Target="../slideLayouts/slideLayout347.xml"/><Relationship Id="rId36" Type="http://schemas.openxmlformats.org/officeDocument/2006/relationships/slideLayout" Target="../slideLayouts/slideLayout355.xml"/><Relationship Id="rId49" Type="http://schemas.openxmlformats.org/officeDocument/2006/relationships/slideLayout" Target="../slideLayouts/slideLayout368.xml"/><Relationship Id="rId57" Type="http://schemas.openxmlformats.org/officeDocument/2006/relationships/slideLayout" Target="../slideLayouts/slideLayout376.xml"/><Relationship Id="rId10" Type="http://schemas.openxmlformats.org/officeDocument/2006/relationships/slideLayout" Target="../slideLayouts/slideLayout329.xml"/><Relationship Id="rId31" Type="http://schemas.openxmlformats.org/officeDocument/2006/relationships/slideLayout" Target="../slideLayouts/slideLayout350.xml"/><Relationship Id="rId44" Type="http://schemas.openxmlformats.org/officeDocument/2006/relationships/slideLayout" Target="../slideLayouts/slideLayout363.xml"/><Relationship Id="rId52" Type="http://schemas.openxmlformats.org/officeDocument/2006/relationships/slideLayout" Target="../slideLayouts/slideLayout371.xml"/><Relationship Id="rId60" Type="http://schemas.openxmlformats.org/officeDocument/2006/relationships/slideLayout" Target="../slideLayouts/slideLayout379.xml"/><Relationship Id="rId65" Type="http://schemas.openxmlformats.org/officeDocument/2006/relationships/slideLayout" Target="../slideLayouts/slideLayout384.xml"/><Relationship Id="rId73" Type="http://schemas.openxmlformats.org/officeDocument/2006/relationships/slideLayout" Target="../slideLayouts/slideLayout392.xml"/><Relationship Id="rId78" Type="http://schemas.openxmlformats.org/officeDocument/2006/relationships/slideLayout" Target="../slideLayouts/slideLayout397.xml"/><Relationship Id="rId81" Type="http://schemas.openxmlformats.org/officeDocument/2006/relationships/slideLayout" Target="../slideLayouts/slideLayout400.xml"/><Relationship Id="rId86" Type="http://schemas.openxmlformats.org/officeDocument/2006/relationships/tags" Target="../tags/tag318.xml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2.xml"/><Relationship Id="rId18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8.xml"/><Relationship Id="rId34" Type="http://schemas.openxmlformats.org/officeDocument/2006/relationships/slideLayout" Target="../slideLayouts/slideLayout353.xml"/><Relationship Id="rId50" Type="http://schemas.openxmlformats.org/officeDocument/2006/relationships/slideLayout" Target="../slideLayouts/slideLayout369.xml"/><Relationship Id="rId55" Type="http://schemas.openxmlformats.org/officeDocument/2006/relationships/slideLayout" Target="../slideLayouts/slideLayout374.xml"/><Relationship Id="rId76" Type="http://schemas.openxmlformats.org/officeDocument/2006/relationships/slideLayout" Target="../slideLayouts/slideLayout395.xml"/><Relationship Id="rId7" Type="http://schemas.openxmlformats.org/officeDocument/2006/relationships/slideLayout" Target="../slideLayouts/slideLayout326.xml"/><Relationship Id="rId71" Type="http://schemas.openxmlformats.org/officeDocument/2006/relationships/slideLayout" Target="../slideLayouts/slideLayout390.xml"/><Relationship Id="rId2" Type="http://schemas.openxmlformats.org/officeDocument/2006/relationships/slideLayout" Target="../slideLayouts/slideLayout321.xml"/><Relationship Id="rId29" Type="http://schemas.openxmlformats.org/officeDocument/2006/relationships/slideLayout" Target="../slideLayouts/slideLayout348.xml"/><Relationship Id="rId24" Type="http://schemas.openxmlformats.org/officeDocument/2006/relationships/slideLayout" Target="../slideLayouts/slideLayout343.xml"/><Relationship Id="rId40" Type="http://schemas.openxmlformats.org/officeDocument/2006/relationships/slideLayout" Target="../slideLayouts/slideLayout359.xml"/><Relationship Id="rId45" Type="http://schemas.openxmlformats.org/officeDocument/2006/relationships/slideLayout" Target="../slideLayouts/slideLayout364.xml"/><Relationship Id="rId66" Type="http://schemas.openxmlformats.org/officeDocument/2006/relationships/slideLayout" Target="../slideLayouts/slideLayout385.xml"/><Relationship Id="rId87" Type="http://schemas.openxmlformats.org/officeDocument/2006/relationships/oleObject" Target="../embeddings/oleObject93.bin"/><Relationship Id="rId61" Type="http://schemas.openxmlformats.org/officeDocument/2006/relationships/slideLayout" Target="../slideLayouts/slideLayout380.xml"/><Relationship Id="rId82" Type="http://schemas.openxmlformats.org/officeDocument/2006/relationships/slideLayout" Target="../slideLayouts/slideLayout401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29.xml"/><Relationship Id="rId21" Type="http://schemas.openxmlformats.org/officeDocument/2006/relationships/slideLayout" Target="../slideLayouts/slideLayout424.xml"/><Relationship Id="rId42" Type="http://schemas.openxmlformats.org/officeDocument/2006/relationships/slideLayout" Target="../slideLayouts/slideLayout445.xml"/><Relationship Id="rId47" Type="http://schemas.openxmlformats.org/officeDocument/2006/relationships/slideLayout" Target="../slideLayouts/slideLayout450.xml"/><Relationship Id="rId63" Type="http://schemas.openxmlformats.org/officeDocument/2006/relationships/slideLayout" Target="../slideLayouts/slideLayout466.xml"/><Relationship Id="rId68" Type="http://schemas.openxmlformats.org/officeDocument/2006/relationships/slideLayout" Target="../slideLayouts/slideLayout471.xml"/><Relationship Id="rId84" Type="http://schemas.openxmlformats.org/officeDocument/2006/relationships/slideLayout" Target="../slideLayouts/slideLayout487.xml"/><Relationship Id="rId89" Type="http://schemas.openxmlformats.org/officeDocument/2006/relationships/oleObject" Target="../embeddings/oleObject1.bin"/><Relationship Id="rId16" Type="http://schemas.openxmlformats.org/officeDocument/2006/relationships/slideLayout" Target="../slideLayouts/slideLayout419.xml"/><Relationship Id="rId11" Type="http://schemas.openxmlformats.org/officeDocument/2006/relationships/slideLayout" Target="../slideLayouts/slideLayout414.xml"/><Relationship Id="rId32" Type="http://schemas.openxmlformats.org/officeDocument/2006/relationships/slideLayout" Target="../slideLayouts/slideLayout435.xml"/><Relationship Id="rId37" Type="http://schemas.openxmlformats.org/officeDocument/2006/relationships/slideLayout" Target="../slideLayouts/slideLayout440.xml"/><Relationship Id="rId53" Type="http://schemas.openxmlformats.org/officeDocument/2006/relationships/slideLayout" Target="../slideLayouts/slideLayout456.xml"/><Relationship Id="rId58" Type="http://schemas.openxmlformats.org/officeDocument/2006/relationships/slideLayout" Target="../slideLayouts/slideLayout461.xml"/><Relationship Id="rId74" Type="http://schemas.openxmlformats.org/officeDocument/2006/relationships/slideLayout" Target="../slideLayouts/slideLayout477.xml"/><Relationship Id="rId79" Type="http://schemas.openxmlformats.org/officeDocument/2006/relationships/slideLayout" Target="../slideLayouts/slideLayout482.xml"/><Relationship Id="rId5" Type="http://schemas.openxmlformats.org/officeDocument/2006/relationships/slideLayout" Target="../slideLayouts/slideLayout408.xml"/><Relationship Id="rId90" Type="http://schemas.openxmlformats.org/officeDocument/2006/relationships/image" Target="../media/image1.emf"/><Relationship Id="rId14" Type="http://schemas.openxmlformats.org/officeDocument/2006/relationships/slideLayout" Target="../slideLayouts/slideLayout417.xml"/><Relationship Id="rId22" Type="http://schemas.openxmlformats.org/officeDocument/2006/relationships/slideLayout" Target="../slideLayouts/slideLayout425.xml"/><Relationship Id="rId27" Type="http://schemas.openxmlformats.org/officeDocument/2006/relationships/slideLayout" Target="../slideLayouts/slideLayout430.xml"/><Relationship Id="rId30" Type="http://schemas.openxmlformats.org/officeDocument/2006/relationships/slideLayout" Target="../slideLayouts/slideLayout433.xml"/><Relationship Id="rId35" Type="http://schemas.openxmlformats.org/officeDocument/2006/relationships/slideLayout" Target="../slideLayouts/slideLayout438.xml"/><Relationship Id="rId43" Type="http://schemas.openxmlformats.org/officeDocument/2006/relationships/slideLayout" Target="../slideLayouts/slideLayout446.xml"/><Relationship Id="rId48" Type="http://schemas.openxmlformats.org/officeDocument/2006/relationships/slideLayout" Target="../slideLayouts/slideLayout451.xml"/><Relationship Id="rId56" Type="http://schemas.openxmlformats.org/officeDocument/2006/relationships/slideLayout" Target="../slideLayouts/slideLayout459.xml"/><Relationship Id="rId64" Type="http://schemas.openxmlformats.org/officeDocument/2006/relationships/slideLayout" Target="../slideLayouts/slideLayout467.xml"/><Relationship Id="rId69" Type="http://schemas.openxmlformats.org/officeDocument/2006/relationships/slideLayout" Target="../slideLayouts/slideLayout472.xml"/><Relationship Id="rId77" Type="http://schemas.openxmlformats.org/officeDocument/2006/relationships/slideLayout" Target="../slideLayouts/slideLayout480.xml"/><Relationship Id="rId8" Type="http://schemas.openxmlformats.org/officeDocument/2006/relationships/slideLayout" Target="../slideLayouts/slideLayout411.xml"/><Relationship Id="rId51" Type="http://schemas.openxmlformats.org/officeDocument/2006/relationships/slideLayout" Target="../slideLayouts/slideLayout454.xml"/><Relationship Id="rId72" Type="http://schemas.openxmlformats.org/officeDocument/2006/relationships/slideLayout" Target="../slideLayouts/slideLayout475.xml"/><Relationship Id="rId80" Type="http://schemas.openxmlformats.org/officeDocument/2006/relationships/slideLayout" Target="../slideLayouts/slideLayout483.xml"/><Relationship Id="rId85" Type="http://schemas.openxmlformats.org/officeDocument/2006/relationships/slideLayout" Target="../slideLayouts/slideLayout488.xml"/><Relationship Id="rId3" Type="http://schemas.openxmlformats.org/officeDocument/2006/relationships/slideLayout" Target="../slideLayouts/slideLayout406.xml"/><Relationship Id="rId12" Type="http://schemas.openxmlformats.org/officeDocument/2006/relationships/slideLayout" Target="../slideLayouts/slideLayout415.xml"/><Relationship Id="rId17" Type="http://schemas.openxmlformats.org/officeDocument/2006/relationships/slideLayout" Target="../slideLayouts/slideLayout420.xml"/><Relationship Id="rId25" Type="http://schemas.openxmlformats.org/officeDocument/2006/relationships/slideLayout" Target="../slideLayouts/slideLayout428.xml"/><Relationship Id="rId33" Type="http://schemas.openxmlformats.org/officeDocument/2006/relationships/slideLayout" Target="../slideLayouts/slideLayout436.xml"/><Relationship Id="rId38" Type="http://schemas.openxmlformats.org/officeDocument/2006/relationships/slideLayout" Target="../slideLayouts/slideLayout441.xml"/><Relationship Id="rId46" Type="http://schemas.openxmlformats.org/officeDocument/2006/relationships/slideLayout" Target="../slideLayouts/slideLayout449.xml"/><Relationship Id="rId59" Type="http://schemas.openxmlformats.org/officeDocument/2006/relationships/slideLayout" Target="../slideLayouts/slideLayout462.xml"/><Relationship Id="rId67" Type="http://schemas.openxmlformats.org/officeDocument/2006/relationships/slideLayout" Target="../slideLayouts/slideLayout470.xml"/><Relationship Id="rId20" Type="http://schemas.openxmlformats.org/officeDocument/2006/relationships/slideLayout" Target="../slideLayouts/slideLayout423.xml"/><Relationship Id="rId41" Type="http://schemas.openxmlformats.org/officeDocument/2006/relationships/slideLayout" Target="../slideLayouts/slideLayout444.xml"/><Relationship Id="rId54" Type="http://schemas.openxmlformats.org/officeDocument/2006/relationships/slideLayout" Target="../slideLayouts/slideLayout457.xml"/><Relationship Id="rId62" Type="http://schemas.openxmlformats.org/officeDocument/2006/relationships/slideLayout" Target="../slideLayouts/slideLayout465.xml"/><Relationship Id="rId70" Type="http://schemas.openxmlformats.org/officeDocument/2006/relationships/slideLayout" Target="../slideLayouts/slideLayout473.xml"/><Relationship Id="rId75" Type="http://schemas.openxmlformats.org/officeDocument/2006/relationships/slideLayout" Target="../slideLayouts/slideLayout478.xml"/><Relationship Id="rId83" Type="http://schemas.openxmlformats.org/officeDocument/2006/relationships/slideLayout" Target="../slideLayouts/slideLayout486.xml"/><Relationship Id="rId88" Type="http://schemas.openxmlformats.org/officeDocument/2006/relationships/tags" Target="../tags/tag403.xml"/><Relationship Id="rId1" Type="http://schemas.openxmlformats.org/officeDocument/2006/relationships/slideLayout" Target="../slideLayouts/slideLayout404.xml"/><Relationship Id="rId6" Type="http://schemas.openxmlformats.org/officeDocument/2006/relationships/slideLayout" Target="../slideLayouts/slideLayout409.xml"/><Relationship Id="rId15" Type="http://schemas.openxmlformats.org/officeDocument/2006/relationships/slideLayout" Target="../slideLayouts/slideLayout418.xml"/><Relationship Id="rId23" Type="http://schemas.openxmlformats.org/officeDocument/2006/relationships/slideLayout" Target="../slideLayouts/slideLayout426.xml"/><Relationship Id="rId28" Type="http://schemas.openxmlformats.org/officeDocument/2006/relationships/slideLayout" Target="../slideLayouts/slideLayout431.xml"/><Relationship Id="rId36" Type="http://schemas.openxmlformats.org/officeDocument/2006/relationships/slideLayout" Target="../slideLayouts/slideLayout439.xml"/><Relationship Id="rId49" Type="http://schemas.openxmlformats.org/officeDocument/2006/relationships/slideLayout" Target="../slideLayouts/slideLayout452.xml"/><Relationship Id="rId57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13.xml"/><Relationship Id="rId31" Type="http://schemas.openxmlformats.org/officeDocument/2006/relationships/slideLayout" Target="../slideLayouts/slideLayout434.xml"/><Relationship Id="rId44" Type="http://schemas.openxmlformats.org/officeDocument/2006/relationships/slideLayout" Target="../slideLayouts/slideLayout447.xml"/><Relationship Id="rId52" Type="http://schemas.openxmlformats.org/officeDocument/2006/relationships/slideLayout" Target="../slideLayouts/slideLayout455.xml"/><Relationship Id="rId60" Type="http://schemas.openxmlformats.org/officeDocument/2006/relationships/slideLayout" Target="../slideLayouts/slideLayout463.xml"/><Relationship Id="rId65" Type="http://schemas.openxmlformats.org/officeDocument/2006/relationships/slideLayout" Target="../slideLayouts/slideLayout468.xml"/><Relationship Id="rId73" Type="http://schemas.openxmlformats.org/officeDocument/2006/relationships/slideLayout" Target="../slideLayouts/slideLayout476.xml"/><Relationship Id="rId78" Type="http://schemas.openxmlformats.org/officeDocument/2006/relationships/slideLayout" Target="../slideLayouts/slideLayout481.xml"/><Relationship Id="rId81" Type="http://schemas.openxmlformats.org/officeDocument/2006/relationships/slideLayout" Target="../slideLayouts/slideLayout484.xml"/><Relationship Id="rId86" Type="http://schemas.openxmlformats.org/officeDocument/2006/relationships/slideLayout" Target="../slideLayouts/slideLayout489.xml"/><Relationship Id="rId4" Type="http://schemas.openxmlformats.org/officeDocument/2006/relationships/slideLayout" Target="../slideLayouts/slideLayout407.xml"/><Relationship Id="rId9" Type="http://schemas.openxmlformats.org/officeDocument/2006/relationships/slideLayout" Target="../slideLayouts/slideLayout412.xml"/><Relationship Id="rId13" Type="http://schemas.openxmlformats.org/officeDocument/2006/relationships/slideLayout" Target="../slideLayouts/slideLayout416.xml"/><Relationship Id="rId18" Type="http://schemas.openxmlformats.org/officeDocument/2006/relationships/slideLayout" Target="../slideLayouts/slideLayout421.xml"/><Relationship Id="rId39" Type="http://schemas.openxmlformats.org/officeDocument/2006/relationships/slideLayout" Target="../slideLayouts/slideLayout442.xml"/><Relationship Id="rId34" Type="http://schemas.openxmlformats.org/officeDocument/2006/relationships/slideLayout" Target="../slideLayouts/slideLayout437.xml"/><Relationship Id="rId50" Type="http://schemas.openxmlformats.org/officeDocument/2006/relationships/slideLayout" Target="../slideLayouts/slideLayout453.xml"/><Relationship Id="rId55" Type="http://schemas.openxmlformats.org/officeDocument/2006/relationships/slideLayout" Target="../slideLayouts/slideLayout458.xml"/><Relationship Id="rId76" Type="http://schemas.openxmlformats.org/officeDocument/2006/relationships/slideLayout" Target="../slideLayouts/slideLayout479.xml"/><Relationship Id="rId7" Type="http://schemas.openxmlformats.org/officeDocument/2006/relationships/slideLayout" Target="../slideLayouts/slideLayout410.xml"/><Relationship Id="rId71" Type="http://schemas.openxmlformats.org/officeDocument/2006/relationships/slideLayout" Target="../slideLayouts/slideLayout474.xml"/><Relationship Id="rId2" Type="http://schemas.openxmlformats.org/officeDocument/2006/relationships/slideLayout" Target="../slideLayouts/slideLayout405.xml"/><Relationship Id="rId29" Type="http://schemas.openxmlformats.org/officeDocument/2006/relationships/slideLayout" Target="../slideLayouts/slideLayout432.xml"/><Relationship Id="rId24" Type="http://schemas.openxmlformats.org/officeDocument/2006/relationships/slideLayout" Target="../slideLayouts/slideLayout427.xml"/><Relationship Id="rId40" Type="http://schemas.openxmlformats.org/officeDocument/2006/relationships/slideLayout" Target="../slideLayouts/slideLayout443.xml"/><Relationship Id="rId45" Type="http://schemas.openxmlformats.org/officeDocument/2006/relationships/slideLayout" Target="../slideLayouts/slideLayout448.xml"/><Relationship Id="rId66" Type="http://schemas.openxmlformats.org/officeDocument/2006/relationships/slideLayout" Target="../slideLayouts/slideLayout469.xml"/><Relationship Id="rId87" Type="http://schemas.openxmlformats.org/officeDocument/2006/relationships/theme" Target="../theme/theme4.xml"/><Relationship Id="rId61" Type="http://schemas.openxmlformats.org/officeDocument/2006/relationships/slideLayout" Target="../slideLayouts/slideLayout464.xml"/><Relationship Id="rId82" Type="http://schemas.openxmlformats.org/officeDocument/2006/relationships/slideLayout" Target="../slideLayouts/slideLayout485.xml"/><Relationship Id="rId19" Type="http://schemas.openxmlformats.org/officeDocument/2006/relationships/slideLayout" Target="../slideLayouts/slideLayout422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15.xml"/><Relationship Id="rId21" Type="http://schemas.openxmlformats.org/officeDocument/2006/relationships/slideLayout" Target="../slideLayouts/slideLayout510.xml"/><Relationship Id="rId42" Type="http://schemas.openxmlformats.org/officeDocument/2006/relationships/slideLayout" Target="../slideLayouts/slideLayout531.xml"/><Relationship Id="rId47" Type="http://schemas.openxmlformats.org/officeDocument/2006/relationships/slideLayout" Target="../slideLayouts/slideLayout536.xml"/><Relationship Id="rId63" Type="http://schemas.openxmlformats.org/officeDocument/2006/relationships/slideLayout" Target="../slideLayouts/slideLayout552.xml"/><Relationship Id="rId68" Type="http://schemas.openxmlformats.org/officeDocument/2006/relationships/slideLayout" Target="../slideLayouts/slideLayout557.xml"/><Relationship Id="rId84" Type="http://schemas.openxmlformats.org/officeDocument/2006/relationships/slideLayout" Target="../slideLayouts/slideLayout573.xml"/><Relationship Id="rId89" Type="http://schemas.openxmlformats.org/officeDocument/2006/relationships/oleObject" Target="../embeddings/oleObject1.bin"/><Relationship Id="rId16" Type="http://schemas.openxmlformats.org/officeDocument/2006/relationships/slideLayout" Target="../slideLayouts/slideLayout505.xml"/><Relationship Id="rId11" Type="http://schemas.openxmlformats.org/officeDocument/2006/relationships/slideLayout" Target="../slideLayouts/slideLayout500.xml"/><Relationship Id="rId32" Type="http://schemas.openxmlformats.org/officeDocument/2006/relationships/slideLayout" Target="../slideLayouts/slideLayout521.xml"/><Relationship Id="rId37" Type="http://schemas.openxmlformats.org/officeDocument/2006/relationships/slideLayout" Target="../slideLayouts/slideLayout526.xml"/><Relationship Id="rId53" Type="http://schemas.openxmlformats.org/officeDocument/2006/relationships/slideLayout" Target="../slideLayouts/slideLayout542.xml"/><Relationship Id="rId58" Type="http://schemas.openxmlformats.org/officeDocument/2006/relationships/slideLayout" Target="../slideLayouts/slideLayout547.xml"/><Relationship Id="rId74" Type="http://schemas.openxmlformats.org/officeDocument/2006/relationships/slideLayout" Target="../slideLayouts/slideLayout563.xml"/><Relationship Id="rId79" Type="http://schemas.openxmlformats.org/officeDocument/2006/relationships/slideLayout" Target="../slideLayouts/slideLayout568.xml"/><Relationship Id="rId5" Type="http://schemas.openxmlformats.org/officeDocument/2006/relationships/slideLayout" Target="../slideLayouts/slideLayout494.xml"/><Relationship Id="rId90" Type="http://schemas.openxmlformats.org/officeDocument/2006/relationships/image" Target="../media/image1.emf"/><Relationship Id="rId14" Type="http://schemas.openxmlformats.org/officeDocument/2006/relationships/slideLayout" Target="../slideLayouts/slideLayout503.xml"/><Relationship Id="rId22" Type="http://schemas.openxmlformats.org/officeDocument/2006/relationships/slideLayout" Target="../slideLayouts/slideLayout511.xml"/><Relationship Id="rId27" Type="http://schemas.openxmlformats.org/officeDocument/2006/relationships/slideLayout" Target="../slideLayouts/slideLayout516.xml"/><Relationship Id="rId30" Type="http://schemas.openxmlformats.org/officeDocument/2006/relationships/slideLayout" Target="../slideLayouts/slideLayout519.xml"/><Relationship Id="rId35" Type="http://schemas.openxmlformats.org/officeDocument/2006/relationships/slideLayout" Target="../slideLayouts/slideLayout524.xml"/><Relationship Id="rId43" Type="http://schemas.openxmlformats.org/officeDocument/2006/relationships/slideLayout" Target="../slideLayouts/slideLayout532.xml"/><Relationship Id="rId48" Type="http://schemas.openxmlformats.org/officeDocument/2006/relationships/slideLayout" Target="../slideLayouts/slideLayout537.xml"/><Relationship Id="rId56" Type="http://schemas.openxmlformats.org/officeDocument/2006/relationships/slideLayout" Target="../slideLayouts/slideLayout545.xml"/><Relationship Id="rId64" Type="http://schemas.openxmlformats.org/officeDocument/2006/relationships/slideLayout" Target="../slideLayouts/slideLayout553.xml"/><Relationship Id="rId69" Type="http://schemas.openxmlformats.org/officeDocument/2006/relationships/slideLayout" Target="../slideLayouts/slideLayout558.xml"/><Relationship Id="rId77" Type="http://schemas.openxmlformats.org/officeDocument/2006/relationships/slideLayout" Target="../slideLayouts/slideLayout566.xml"/><Relationship Id="rId8" Type="http://schemas.openxmlformats.org/officeDocument/2006/relationships/slideLayout" Target="../slideLayouts/slideLayout497.xml"/><Relationship Id="rId51" Type="http://schemas.openxmlformats.org/officeDocument/2006/relationships/slideLayout" Target="../slideLayouts/slideLayout540.xml"/><Relationship Id="rId72" Type="http://schemas.openxmlformats.org/officeDocument/2006/relationships/slideLayout" Target="../slideLayouts/slideLayout561.xml"/><Relationship Id="rId80" Type="http://schemas.openxmlformats.org/officeDocument/2006/relationships/slideLayout" Target="../slideLayouts/slideLayout569.xml"/><Relationship Id="rId85" Type="http://schemas.openxmlformats.org/officeDocument/2006/relationships/slideLayout" Target="../slideLayouts/slideLayout574.xml"/><Relationship Id="rId3" Type="http://schemas.openxmlformats.org/officeDocument/2006/relationships/slideLayout" Target="../slideLayouts/slideLayout492.xml"/><Relationship Id="rId12" Type="http://schemas.openxmlformats.org/officeDocument/2006/relationships/slideLayout" Target="../slideLayouts/slideLayout501.xml"/><Relationship Id="rId17" Type="http://schemas.openxmlformats.org/officeDocument/2006/relationships/slideLayout" Target="../slideLayouts/slideLayout506.xml"/><Relationship Id="rId25" Type="http://schemas.openxmlformats.org/officeDocument/2006/relationships/slideLayout" Target="../slideLayouts/slideLayout514.xml"/><Relationship Id="rId33" Type="http://schemas.openxmlformats.org/officeDocument/2006/relationships/slideLayout" Target="../slideLayouts/slideLayout522.xml"/><Relationship Id="rId38" Type="http://schemas.openxmlformats.org/officeDocument/2006/relationships/slideLayout" Target="../slideLayouts/slideLayout527.xml"/><Relationship Id="rId46" Type="http://schemas.openxmlformats.org/officeDocument/2006/relationships/slideLayout" Target="../slideLayouts/slideLayout535.xml"/><Relationship Id="rId59" Type="http://schemas.openxmlformats.org/officeDocument/2006/relationships/slideLayout" Target="../slideLayouts/slideLayout548.xml"/><Relationship Id="rId67" Type="http://schemas.openxmlformats.org/officeDocument/2006/relationships/slideLayout" Target="../slideLayouts/slideLayout556.xml"/><Relationship Id="rId20" Type="http://schemas.openxmlformats.org/officeDocument/2006/relationships/slideLayout" Target="../slideLayouts/slideLayout509.xml"/><Relationship Id="rId41" Type="http://schemas.openxmlformats.org/officeDocument/2006/relationships/slideLayout" Target="../slideLayouts/slideLayout530.xml"/><Relationship Id="rId54" Type="http://schemas.openxmlformats.org/officeDocument/2006/relationships/slideLayout" Target="../slideLayouts/slideLayout543.xml"/><Relationship Id="rId62" Type="http://schemas.openxmlformats.org/officeDocument/2006/relationships/slideLayout" Target="../slideLayouts/slideLayout551.xml"/><Relationship Id="rId70" Type="http://schemas.openxmlformats.org/officeDocument/2006/relationships/slideLayout" Target="../slideLayouts/slideLayout559.xml"/><Relationship Id="rId75" Type="http://schemas.openxmlformats.org/officeDocument/2006/relationships/slideLayout" Target="../slideLayouts/slideLayout564.xml"/><Relationship Id="rId83" Type="http://schemas.openxmlformats.org/officeDocument/2006/relationships/slideLayout" Target="../slideLayouts/slideLayout572.xml"/><Relationship Id="rId88" Type="http://schemas.openxmlformats.org/officeDocument/2006/relationships/tags" Target="../tags/tag488.xml"/><Relationship Id="rId1" Type="http://schemas.openxmlformats.org/officeDocument/2006/relationships/slideLayout" Target="../slideLayouts/slideLayout490.xml"/><Relationship Id="rId6" Type="http://schemas.openxmlformats.org/officeDocument/2006/relationships/slideLayout" Target="../slideLayouts/slideLayout495.xml"/><Relationship Id="rId15" Type="http://schemas.openxmlformats.org/officeDocument/2006/relationships/slideLayout" Target="../slideLayouts/slideLayout504.xml"/><Relationship Id="rId23" Type="http://schemas.openxmlformats.org/officeDocument/2006/relationships/slideLayout" Target="../slideLayouts/slideLayout512.xml"/><Relationship Id="rId28" Type="http://schemas.openxmlformats.org/officeDocument/2006/relationships/slideLayout" Target="../slideLayouts/slideLayout517.xml"/><Relationship Id="rId36" Type="http://schemas.openxmlformats.org/officeDocument/2006/relationships/slideLayout" Target="../slideLayouts/slideLayout525.xml"/><Relationship Id="rId49" Type="http://schemas.openxmlformats.org/officeDocument/2006/relationships/slideLayout" Target="../slideLayouts/slideLayout538.xml"/><Relationship Id="rId57" Type="http://schemas.openxmlformats.org/officeDocument/2006/relationships/slideLayout" Target="../slideLayouts/slideLayout546.xml"/><Relationship Id="rId10" Type="http://schemas.openxmlformats.org/officeDocument/2006/relationships/slideLayout" Target="../slideLayouts/slideLayout499.xml"/><Relationship Id="rId31" Type="http://schemas.openxmlformats.org/officeDocument/2006/relationships/slideLayout" Target="../slideLayouts/slideLayout520.xml"/><Relationship Id="rId44" Type="http://schemas.openxmlformats.org/officeDocument/2006/relationships/slideLayout" Target="../slideLayouts/slideLayout533.xml"/><Relationship Id="rId52" Type="http://schemas.openxmlformats.org/officeDocument/2006/relationships/slideLayout" Target="../slideLayouts/slideLayout541.xml"/><Relationship Id="rId60" Type="http://schemas.openxmlformats.org/officeDocument/2006/relationships/slideLayout" Target="../slideLayouts/slideLayout549.xml"/><Relationship Id="rId65" Type="http://schemas.openxmlformats.org/officeDocument/2006/relationships/slideLayout" Target="../slideLayouts/slideLayout554.xml"/><Relationship Id="rId73" Type="http://schemas.openxmlformats.org/officeDocument/2006/relationships/slideLayout" Target="../slideLayouts/slideLayout562.xml"/><Relationship Id="rId78" Type="http://schemas.openxmlformats.org/officeDocument/2006/relationships/slideLayout" Target="../slideLayouts/slideLayout567.xml"/><Relationship Id="rId81" Type="http://schemas.openxmlformats.org/officeDocument/2006/relationships/slideLayout" Target="../slideLayouts/slideLayout570.xml"/><Relationship Id="rId86" Type="http://schemas.openxmlformats.org/officeDocument/2006/relationships/slideLayout" Target="../slideLayouts/slideLayout575.xml"/><Relationship Id="rId4" Type="http://schemas.openxmlformats.org/officeDocument/2006/relationships/slideLayout" Target="../slideLayouts/slideLayout493.xml"/><Relationship Id="rId9" Type="http://schemas.openxmlformats.org/officeDocument/2006/relationships/slideLayout" Target="../slideLayouts/slideLayout498.xml"/><Relationship Id="rId13" Type="http://schemas.openxmlformats.org/officeDocument/2006/relationships/slideLayout" Target="../slideLayouts/slideLayout502.xml"/><Relationship Id="rId18" Type="http://schemas.openxmlformats.org/officeDocument/2006/relationships/slideLayout" Target="../slideLayouts/slideLayout507.xml"/><Relationship Id="rId39" Type="http://schemas.openxmlformats.org/officeDocument/2006/relationships/slideLayout" Target="../slideLayouts/slideLayout528.xml"/><Relationship Id="rId34" Type="http://schemas.openxmlformats.org/officeDocument/2006/relationships/slideLayout" Target="../slideLayouts/slideLayout523.xml"/><Relationship Id="rId50" Type="http://schemas.openxmlformats.org/officeDocument/2006/relationships/slideLayout" Target="../slideLayouts/slideLayout539.xml"/><Relationship Id="rId55" Type="http://schemas.openxmlformats.org/officeDocument/2006/relationships/slideLayout" Target="../slideLayouts/slideLayout544.xml"/><Relationship Id="rId76" Type="http://schemas.openxmlformats.org/officeDocument/2006/relationships/slideLayout" Target="../slideLayouts/slideLayout565.xml"/><Relationship Id="rId7" Type="http://schemas.openxmlformats.org/officeDocument/2006/relationships/slideLayout" Target="../slideLayouts/slideLayout496.xml"/><Relationship Id="rId71" Type="http://schemas.openxmlformats.org/officeDocument/2006/relationships/slideLayout" Target="../slideLayouts/slideLayout560.xml"/><Relationship Id="rId2" Type="http://schemas.openxmlformats.org/officeDocument/2006/relationships/slideLayout" Target="../slideLayouts/slideLayout491.xml"/><Relationship Id="rId29" Type="http://schemas.openxmlformats.org/officeDocument/2006/relationships/slideLayout" Target="../slideLayouts/slideLayout518.xml"/><Relationship Id="rId24" Type="http://schemas.openxmlformats.org/officeDocument/2006/relationships/slideLayout" Target="../slideLayouts/slideLayout513.xml"/><Relationship Id="rId40" Type="http://schemas.openxmlformats.org/officeDocument/2006/relationships/slideLayout" Target="../slideLayouts/slideLayout529.xml"/><Relationship Id="rId45" Type="http://schemas.openxmlformats.org/officeDocument/2006/relationships/slideLayout" Target="../slideLayouts/slideLayout534.xml"/><Relationship Id="rId66" Type="http://schemas.openxmlformats.org/officeDocument/2006/relationships/slideLayout" Target="../slideLayouts/slideLayout555.xml"/><Relationship Id="rId87" Type="http://schemas.openxmlformats.org/officeDocument/2006/relationships/theme" Target="../theme/theme5.xml"/><Relationship Id="rId61" Type="http://schemas.openxmlformats.org/officeDocument/2006/relationships/slideLayout" Target="../slideLayouts/slideLayout550.xml"/><Relationship Id="rId82" Type="http://schemas.openxmlformats.org/officeDocument/2006/relationships/slideLayout" Target="../slideLayouts/slideLayout571.xml"/><Relationship Id="rId19" Type="http://schemas.openxmlformats.org/officeDocument/2006/relationships/slideLayout" Target="../slideLayouts/slideLayout508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01.xml"/><Relationship Id="rId21" Type="http://schemas.openxmlformats.org/officeDocument/2006/relationships/slideLayout" Target="../slideLayouts/slideLayout596.xml"/><Relationship Id="rId42" Type="http://schemas.openxmlformats.org/officeDocument/2006/relationships/slideLayout" Target="../slideLayouts/slideLayout617.xml"/><Relationship Id="rId47" Type="http://schemas.openxmlformats.org/officeDocument/2006/relationships/slideLayout" Target="../slideLayouts/slideLayout622.xml"/><Relationship Id="rId63" Type="http://schemas.openxmlformats.org/officeDocument/2006/relationships/slideLayout" Target="../slideLayouts/slideLayout638.xml"/><Relationship Id="rId68" Type="http://schemas.openxmlformats.org/officeDocument/2006/relationships/slideLayout" Target="../slideLayouts/slideLayout643.xml"/><Relationship Id="rId84" Type="http://schemas.openxmlformats.org/officeDocument/2006/relationships/slideLayout" Target="../slideLayouts/slideLayout659.xml"/><Relationship Id="rId89" Type="http://schemas.openxmlformats.org/officeDocument/2006/relationships/oleObject" Target="../embeddings/oleObject1.bin"/><Relationship Id="rId16" Type="http://schemas.openxmlformats.org/officeDocument/2006/relationships/slideLayout" Target="../slideLayouts/slideLayout591.xml"/><Relationship Id="rId11" Type="http://schemas.openxmlformats.org/officeDocument/2006/relationships/slideLayout" Target="../slideLayouts/slideLayout586.xml"/><Relationship Id="rId32" Type="http://schemas.openxmlformats.org/officeDocument/2006/relationships/slideLayout" Target="../slideLayouts/slideLayout607.xml"/><Relationship Id="rId37" Type="http://schemas.openxmlformats.org/officeDocument/2006/relationships/slideLayout" Target="../slideLayouts/slideLayout612.xml"/><Relationship Id="rId53" Type="http://schemas.openxmlformats.org/officeDocument/2006/relationships/slideLayout" Target="../slideLayouts/slideLayout628.xml"/><Relationship Id="rId58" Type="http://schemas.openxmlformats.org/officeDocument/2006/relationships/slideLayout" Target="../slideLayouts/slideLayout633.xml"/><Relationship Id="rId74" Type="http://schemas.openxmlformats.org/officeDocument/2006/relationships/slideLayout" Target="../slideLayouts/slideLayout649.xml"/><Relationship Id="rId79" Type="http://schemas.openxmlformats.org/officeDocument/2006/relationships/slideLayout" Target="../slideLayouts/slideLayout654.xml"/><Relationship Id="rId5" Type="http://schemas.openxmlformats.org/officeDocument/2006/relationships/slideLayout" Target="../slideLayouts/slideLayout580.xml"/><Relationship Id="rId90" Type="http://schemas.openxmlformats.org/officeDocument/2006/relationships/image" Target="../media/image1.emf"/><Relationship Id="rId14" Type="http://schemas.openxmlformats.org/officeDocument/2006/relationships/slideLayout" Target="../slideLayouts/slideLayout589.xml"/><Relationship Id="rId22" Type="http://schemas.openxmlformats.org/officeDocument/2006/relationships/slideLayout" Target="../slideLayouts/slideLayout597.xml"/><Relationship Id="rId27" Type="http://schemas.openxmlformats.org/officeDocument/2006/relationships/slideLayout" Target="../slideLayouts/slideLayout602.xml"/><Relationship Id="rId30" Type="http://schemas.openxmlformats.org/officeDocument/2006/relationships/slideLayout" Target="../slideLayouts/slideLayout605.xml"/><Relationship Id="rId35" Type="http://schemas.openxmlformats.org/officeDocument/2006/relationships/slideLayout" Target="../slideLayouts/slideLayout610.xml"/><Relationship Id="rId43" Type="http://schemas.openxmlformats.org/officeDocument/2006/relationships/slideLayout" Target="../slideLayouts/slideLayout618.xml"/><Relationship Id="rId48" Type="http://schemas.openxmlformats.org/officeDocument/2006/relationships/slideLayout" Target="../slideLayouts/slideLayout623.xml"/><Relationship Id="rId56" Type="http://schemas.openxmlformats.org/officeDocument/2006/relationships/slideLayout" Target="../slideLayouts/slideLayout631.xml"/><Relationship Id="rId64" Type="http://schemas.openxmlformats.org/officeDocument/2006/relationships/slideLayout" Target="../slideLayouts/slideLayout639.xml"/><Relationship Id="rId69" Type="http://schemas.openxmlformats.org/officeDocument/2006/relationships/slideLayout" Target="../slideLayouts/slideLayout644.xml"/><Relationship Id="rId77" Type="http://schemas.openxmlformats.org/officeDocument/2006/relationships/slideLayout" Target="../slideLayouts/slideLayout652.xml"/><Relationship Id="rId8" Type="http://schemas.openxmlformats.org/officeDocument/2006/relationships/slideLayout" Target="../slideLayouts/slideLayout583.xml"/><Relationship Id="rId51" Type="http://schemas.openxmlformats.org/officeDocument/2006/relationships/slideLayout" Target="../slideLayouts/slideLayout626.xml"/><Relationship Id="rId72" Type="http://schemas.openxmlformats.org/officeDocument/2006/relationships/slideLayout" Target="../slideLayouts/slideLayout647.xml"/><Relationship Id="rId80" Type="http://schemas.openxmlformats.org/officeDocument/2006/relationships/slideLayout" Target="../slideLayouts/slideLayout655.xml"/><Relationship Id="rId85" Type="http://schemas.openxmlformats.org/officeDocument/2006/relationships/slideLayout" Target="../slideLayouts/slideLayout660.xml"/><Relationship Id="rId3" Type="http://schemas.openxmlformats.org/officeDocument/2006/relationships/slideLayout" Target="../slideLayouts/slideLayout578.xml"/><Relationship Id="rId12" Type="http://schemas.openxmlformats.org/officeDocument/2006/relationships/slideLayout" Target="../slideLayouts/slideLayout587.xml"/><Relationship Id="rId17" Type="http://schemas.openxmlformats.org/officeDocument/2006/relationships/slideLayout" Target="../slideLayouts/slideLayout592.xml"/><Relationship Id="rId25" Type="http://schemas.openxmlformats.org/officeDocument/2006/relationships/slideLayout" Target="../slideLayouts/slideLayout600.xml"/><Relationship Id="rId33" Type="http://schemas.openxmlformats.org/officeDocument/2006/relationships/slideLayout" Target="../slideLayouts/slideLayout608.xml"/><Relationship Id="rId38" Type="http://schemas.openxmlformats.org/officeDocument/2006/relationships/slideLayout" Target="../slideLayouts/slideLayout613.xml"/><Relationship Id="rId46" Type="http://schemas.openxmlformats.org/officeDocument/2006/relationships/slideLayout" Target="../slideLayouts/slideLayout621.xml"/><Relationship Id="rId59" Type="http://schemas.openxmlformats.org/officeDocument/2006/relationships/slideLayout" Target="../slideLayouts/slideLayout634.xml"/><Relationship Id="rId67" Type="http://schemas.openxmlformats.org/officeDocument/2006/relationships/slideLayout" Target="../slideLayouts/slideLayout642.xml"/><Relationship Id="rId20" Type="http://schemas.openxmlformats.org/officeDocument/2006/relationships/slideLayout" Target="../slideLayouts/slideLayout595.xml"/><Relationship Id="rId41" Type="http://schemas.openxmlformats.org/officeDocument/2006/relationships/slideLayout" Target="../slideLayouts/slideLayout616.xml"/><Relationship Id="rId54" Type="http://schemas.openxmlformats.org/officeDocument/2006/relationships/slideLayout" Target="../slideLayouts/slideLayout629.xml"/><Relationship Id="rId62" Type="http://schemas.openxmlformats.org/officeDocument/2006/relationships/slideLayout" Target="../slideLayouts/slideLayout637.xml"/><Relationship Id="rId70" Type="http://schemas.openxmlformats.org/officeDocument/2006/relationships/slideLayout" Target="../slideLayouts/slideLayout645.xml"/><Relationship Id="rId75" Type="http://schemas.openxmlformats.org/officeDocument/2006/relationships/slideLayout" Target="../slideLayouts/slideLayout650.xml"/><Relationship Id="rId83" Type="http://schemas.openxmlformats.org/officeDocument/2006/relationships/slideLayout" Target="../slideLayouts/slideLayout658.xml"/><Relationship Id="rId88" Type="http://schemas.openxmlformats.org/officeDocument/2006/relationships/tags" Target="../tags/tag573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5" Type="http://schemas.openxmlformats.org/officeDocument/2006/relationships/slideLayout" Target="../slideLayouts/slideLayout590.xml"/><Relationship Id="rId23" Type="http://schemas.openxmlformats.org/officeDocument/2006/relationships/slideLayout" Target="../slideLayouts/slideLayout598.xml"/><Relationship Id="rId28" Type="http://schemas.openxmlformats.org/officeDocument/2006/relationships/slideLayout" Target="../slideLayouts/slideLayout603.xml"/><Relationship Id="rId36" Type="http://schemas.openxmlformats.org/officeDocument/2006/relationships/slideLayout" Target="../slideLayouts/slideLayout611.xml"/><Relationship Id="rId49" Type="http://schemas.openxmlformats.org/officeDocument/2006/relationships/slideLayout" Target="../slideLayouts/slideLayout624.xml"/><Relationship Id="rId57" Type="http://schemas.openxmlformats.org/officeDocument/2006/relationships/slideLayout" Target="../slideLayouts/slideLayout632.xml"/><Relationship Id="rId10" Type="http://schemas.openxmlformats.org/officeDocument/2006/relationships/slideLayout" Target="../slideLayouts/slideLayout585.xml"/><Relationship Id="rId31" Type="http://schemas.openxmlformats.org/officeDocument/2006/relationships/slideLayout" Target="../slideLayouts/slideLayout606.xml"/><Relationship Id="rId44" Type="http://schemas.openxmlformats.org/officeDocument/2006/relationships/slideLayout" Target="../slideLayouts/slideLayout619.xml"/><Relationship Id="rId52" Type="http://schemas.openxmlformats.org/officeDocument/2006/relationships/slideLayout" Target="../slideLayouts/slideLayout627.xml"/><Relationship Id="rId60" Type="http://schemas.openxmlformats.org/officeDocument/2006/relationships/slideLayout" Target="../slideLayouts/slideLayout635.xml"/><Relationship Id="rId65" Type="http://schemas.openxmlformats.org/officeDocument/2006/relationships/slideLayout" Target="../slideLayouts/slideLayout640.xml"/><Relationship Id="rId73" Type="http://schemas.openxmlformats.org/officeDocument/2006/relationships/slideLayout" Target="../slideLayouts/slideLayout648.xml"/><Relationship Id="rId78" Type="http://schemas.openxmlformats.org/officeDocument/2006/relationships/slideLayout" Target="../slideLayouts/slideLayout653.xml"/><Relationship Id="rId81" Type="http://schemas.openxmlformats.org/officeDocument/2006/relationships/slideLayout" Target="../slideLayouts/slideLayout656.xml"/><Relationship Id="rId86" Type="http://schemas.openxmlformats.org/officeDocument/2006/relationships/slideLayout" Target="../slideLayouts/slideLayout661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3" Type="http://schemas.openxmlformats.org/officeDocument/2006/relationships/slideLayout" Target="../slideLayouts/slideLayout588.xml"/><Relationship Id="rId18" Type="http://schemas.openxmlformats.org/officeDocument/2006/relationships/slideLayout" Target="../slideLayouts/slideLayout593.xml"/><Relationship Id="rId39" Type="http://schemas.openxmlformats.org/officeDocument/2006/relationships/slideLayout" Target="../slideLayouts/slideLayout614.xml"/><Relationship Id="rId34" Type="http://schemas.openxmlformats.org/officeDocument/2006/relationships/slideLayout" Target="../slideLayouts/slideLayout609.xml"/><Relationship Id="rId50" Type="http://schemas.openxmlformats.org/officeDocument/2006/relationships/slideLayout" Target="../slideLayouts/slideLayout625.xml"/><Relationship Id="rId55" Type="http://schemas.openxmlformats.org/officeDocument/2006/relationships/slideLayout" Target="../slideLayouts/slideLayout630.xml"/><Relationship Id="rId76" Type="http://schemas.openxmlformats.org/officeDocument/2006/relationships/slideLayout" Target="../slideLayouts/slideLayout651.xml"/><Relationship Id="rId7" Type="http://schemas.openxmlformats.org/officeDocument/2006/relationships/slideLayout" Target="../slideLayouts/slideLayout582.xml"/><Relationship Id="rId71" Type="http://schemas.openxmlformats.org/officeDocument/2006/relationships/slideLayout" Target="../slideLayouts/slideLayout646.xml"/><Relationship Id="rId2" Type="http://schemas.openxmlformats.org/officeDocument/2006/relationships/slideLayout" Target="../slideLayouts/slideLayout577.xml"/><Relationship Id="rId29" Type="http://schemas.openxmlformats.org/officeDocument/2006/relationships/slideLayout" Target="../slideLayouts/slideLayout604.xml"/><Relationship Id="rId24" Type="http://schemas.openxmlformats.org/officeDocument/2006/relationships/slideLayout" Target="../slideLayouts/slideLayout599.xml"/><Relationship Id="rId40" Type="http://schemas.openxmlformats.org/officeDocument/2006/relationships/slideLayout" Target="../slideLayouts/slideLayout615.xml"/><Relationship Id="rId45" Type="http://schemas.openxmlformats.org/officeDocument/2006/relationships/slideLayout" Target="../slideLayouts/slideLayout620.xml"/><Relationship Id="rId66" Type="http://schemas.openxmlformats.org/officeDocument/2006/relationships/slideLayout" Target="../slideLayouts/slideLayout641.xml"/><Relationship Id="rId87" Type="http://schemas.openxmlformats.org/officeDocument/2006/relationships/theme" Target="../theme/theme6.xml"/><Relationship Id="rId61" Type="http://schemas.openxmlformats.org/officeDocument/2006/relationships/slideLayout" Target="../slideLayouts/slideLayout636.xml"/><Relationship Id="rId82" Type="http://schemas.openxmlformats.org/officeDocument/2006/relationships/slideLayout" Target="../slideLayouts/slideLayout657.xml"/><Relationship Id="rId19" Type="http://schemas.openxmlformats.org/officeDocument/2006/relationships/slideLayout" Target="../slideLayouts/slideLayout594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87.xml"/><Relationship Id="rId21" Type="http://schemas.openxmlformats.org/officeDocument/2006/relationships/slideLayout" Target="../slideLayouts/slideLayout682.xml"/><Relationship Id="rId42" Type="http://schemas.openxmlformats.org/officeDocument/2006/relationships/slideLayout" Target="../slideLayouts/slideLayout703.xml"/><Relationship Id="rId47" Type="http://schemas.openxmlformats.org/officeDocument/2006/relationships/slideLayout" Target="../slideLayouts/slideLayout708.xml"/><Relationship Id="rId63" Type="http://schemas.openxmlformats.org/officeDocument/2006/relationships/slideLayout" Target="../slideLayouts/slideLayout724.xml"/><Relationship Id="rId68" Type="http://schemas.openxmlformats.org/officeDocument/2006/relationships/slideLayout" Target="../slideLayouts/slideLayout729.xml"/><Relationship Id="rId84" Type="http://schemas.openxmlformats.org/officeDocument/2006/relationships/slideLayout" Target="../slideLayouts/slideLayout745.xml"/><Relationship Id="rId89" Type="http://schemas.openxmlformats.org/officeDocument/2006/relationships/oleObject" Target="../embeddings/oleObject1.bin"/><Relationship Id="rId16" Type="http://schemas.openxmlformats.org/officeDocument/2006/relationships/slideLayout" Target="../slideLayouts/slideLayout677.xml"/><Relationship Id="rId11" Type="http://schemas.openxmlformats.org/officeDocument/2006/relationships/slideLayout" Target="../slideLayouts/slideLayout672.xml"/><Relationship Id="rId32" Type="http://schemas.openxmlformats.org/officeDocument/2006/relationships/slideLayout" Target="../slideLayouts/slideLayout693.xml"/><Relationship Id="rId37" Type="http://schemas.openxmlformats.org/officeDocument/2006/relationships/slideLayout" Target="../slideLayouts/slideLayout698.xml"/><Relationship Id="rId53" Type="http://schemas.openxmlformats.org/officeDocument/2006/relationships/slideLayout" Target="../slideLayouts/slideLayout714.xml"/><Relationship Id="rId58" Type="http://schemas.openxmlformats.org/officeDocument/2006/relationships/slideLayout" Target="../slideLayouts/slideLayout719.xml"/><Relationship Id="rId74" Type="http://schemas.openxmlformats.org/officeDocument/2006/relationships/slideLayout" Target="../slideLayouts/slideLayout735.xml"/><Relationship Id="rId79" Type="http://schemas.openxmlformats.org/officeDocument/2006/relationships/slideLayout" Target="../slideLayouts/slideLayout740.xml"/><Relationship Id="rId5" Type="http://schemas.openxmlformats.org/officeDocument/2006/relationships/slideLayout" Target="../slideLayouts/slideLayout666.xml"/><Relationship Id="rId90" Type="http://schemas.openxmlformats.org/officeDocument/2006/relationships/image" Target="../media/image1.emf"/><Relationship Id="rId14" Type="http://schemas.openxmlformats.org/officeDocument/2006/relationships/slideLayout" Target="../slideLayouts/slideLayout675.xml"/><Relationship Id="rId22" Type="http://schemas.openxmlformats.org/officeDocument/2006/relationships/slideLayout" Target="../slideLayouts/slideLayout683.xml"/><Relationship Id="rId27" Type="http://schemas.openxmlformats.org/officeDocument/2006/relationships/slideLayout" Target="../slideLayouts/slideLayout688.xml"/><Relationship Id="rId30" Type="http://schemas.openxmlformats.org/officeDocument/2006/relationships/slideLayout" Target="../slideLayouts/slideLayout691.xml"/><Relationship Id="rId35" Type="http://schemas.openxmlformats.org/officeDocument/2006/relationships/slideLayout" Target="../slideLayouts/slideLayout696.xml"/><Relationship Id="rId43" Type="http://schemas.openxmlformats.org/officeDocument/2006/relationships/slideLayout" Target="../slideLayouts/slideLayout704.xml"/><Relationship Id="rId48" Type="http://schemas.openxmlformats.org/officeDocument/2006/relationships/slideLayout" Target="../slideLayouts/slideLayout709.xml"/><Relationship Id="rId56" Type="http://schemas.openxmlformats.org/officeDocument/2006/relationships/slideLayout" Target="../slideLayouts/slideLayout717.xml"/><Relationship Id="rId64" Type="http://schemas.openxmlformats.org/officeDocument/2006/relationships/slideLayout" Target="../slideLayouts/slideLayout725.xml"/><Relationship Id="rId69" Type="http://schemas.openxmlformats.org/officeDocument/2006/relationships/slideLayout" Target="../slideLayouts/slideLayout730.xml"/><Relationship Id="rId77" Type="http://schemas.openxmlformats.org/officeDocument/2006/relationships/slideLayout" Target="../slideLayouts/slideLayout738.xml"/><Relationship Id="rId8" Type="http://schemas.openxmlformats.org/officeDocument/2006/relationships/slideLayout" Target="../slideLayouts/slideLayout669.xml"/><Relationship Id="rId51" Type="http://schemas.openxmlformats.org/officeDocument/2006/relationships/slideLayout" Target="../slideLayouts/slideLayout712.xml"/><Relationship Id="rId72" Type="http://schemas.openxmlformats.org/officeDocument/2006/relationships/slideLayout" Target="../slideLayouts/slideLayout733.xml"/><Relationship Id="rId80" Type="http://schemas.openxmlformats.org/officeDocument/2006/relationships/slideLayout" Target="../slideLayouts/slideLayout741.xml"/><Relationship Id="rId85" Type="http://schemas.openxmlformats.org/officeDocument/2006/relationships/slideLayout" Target="../slideLayouts/slideLayout746.xml"/><Relationship Id="rId3" Type="http://schemas.openxmlformats.org/officeDocument/2006/relationships/slideLayout" Target="../slideLayouts/slideLayout664.xml"/><Relationship Id="rId12" Type="http://schemas.openxmlformats.org/officeDocument/2006/relationships/slideLayout" Target="../slideLayouts/slideLayout673.xml"/><Relationship Id="rId17" Type="http://schemas.openxmlformats.org/officeDocument/2006/relationships/slideLayout" Target="../slideLayouts/slideLayout678.xml"/><Relationship Id="rId25" Type="http://schemas.openxmlformats.org/officeDocument/2006/relationships/slideLayout" Target="../slideLayouts/slideLayout686.xml"/><Relationship Id="rId33" Type="http://schemas.openxmlformats.org/officeDocument/2006/relationships/slideLayout" Target="../slideLayouts/slideLayout694.xml"/><Relationship Id="rId38" Type="http://schemas.openxmlformats.org/officeDocument/2006/relationships/slideLayout" Target="../slideLayouts/slideLayout699.xml"/><Relationship Id="rId46" Type="http://schemas.openxmlformats.org/officeDocument/2006/relationships/slideLayout" Target="../slideLayouts/slideLayout707.xml"/><Relationship Id="rId59" Type="http://schemas.openxmlformats.org/officeDocument/2006/relationships/slideLayout" Target="../slideLayouts/slideLayout720.xml"/><Relationship Id="rId67" Type="http://schemas.openxmlformats.org/officeDocument/2006/relationships/slideLayout" Target="../slideLayouts/slideLayout728.xml"/><Relationship Id="rId20" Type="http://schemas.openxmlformats.org/officeDocument/2006/relationships/slideLayout" Target="../slideLayouts/slideLayout681.xml"/><Relationship Id="rId41" Type="http://schemas.openxmlformats.org/officeDocument/2006/relationships/slideLayout" Target="../slideLayouts/slideLayout702.xml"/><Relationship Id="rId54" Type="http://schemas.openxmlformats.org/officeDocument/2006/relationships/slideLayout" Target="../slideLayouts/slideLayout715.xml"/><Relationship Id="rId62" Type="http://schemas.openxmlformats.org/officeDocument/2006/relationships/slideLayout" Target="../slideLayouts/slideLayout723.xml"/><Relationship Id="rId70" Type="http://schemas.openxmlformats.org/officeDocument/2006/relationships/slideLayout" Target="../slideLayouts/slideLayout731.xml"/><Relationship Id="rId75" Type="http://schemas.openxmlformats.org/officeDocument/2006/relationships/slideLayout" Target="../slideLayouts/slideLayout736.xml"/><Relationship Id="rId83" Type="http://schemas.openxmlformats.org/officeDocument/2006/relationships/slideLayout" Target="../slideLayouts/slideLayout744.xml"/><Relationship Id="rId88" Type="http://schemas.openxmlformats.org/officeDocument/2006/relationships/tags" Target="../tags/tag658.xml"/><Relationship Id="rId1" Type="http://schemas.openxmlformats.org/officeDocument/2006/relationships/slideLayout" Target="../slideLayouts/slideLayout662.xml"/><Relationship Id="rId6" Type="http://schemas.openxmlformats.org/officeDocument/2006/relationships/slideLayout" Target="../slideLayouts/slideLayout667.xml"/><Relationship Id="rId15" Type="http://schemas.openxmlformats.org/officeDocument/2006/relationships/slideLayout" Target="../slideLayouts/slideLayout676.xml"/><Relationship Id="rId23" Type="http://schemas.openxmlformats.org/officeDocument/2006/relationships/slideLayout" Target="../slideLayouts/slideLayout684.xml"/><Relationship Id="rId28" Type="http://schemas.openxmlformats.org/officeDocument/2006/relationships/slideLayout" Target="../slideLayouts/slideLayout689.xml"/><Relationship Id="rId36" Type="http://schemas.openxmlformats.org/officeDocument/2006/relationships/slideLayout" Target="../slideLayouts/slideLayout697.xml"/><Relationship Id="rId49" Type="http://schemas.openxmlformats.org/officeDocument/2006/relationships/slideLayout" Target="../slideLayouts/slideLayout710.xml"/><Relationship Id="rId57" Type="http://schemas.openxmlformats.org/officeDocument/2006/relationships/slideLayout" Target="../slideLayouts/slideLayout718.xml"/><Relationship Id="rId10" Type="http://schemas.openxmlformats.org/officeDocument/2006/relationships/slideLayout" Target="../slideLayouts/slideLayout671.xml"/><Relationship Id="rId31" Type="http://schemas.openxmlformats.org/officeDocument/2006/relationships/slideLayout" Target="../slideLayouts/slideLayout692.xml"/><Relationship Id="rId44" Type="http://schemas.openxmlformats.org/officeDocument/2006/relationships/slideLayout" Target="../slideLayouts/slideLayout705.xml"/><Relationship Id="rId52" Type="http://schemas.openxmlformats.org/officeDocument/2006/relationships/slideLayout" Target="../slideLayouts/slideLayout713.xml"/><Relationship Id="rId60" Type="http://schemas.openxmlformats.org/officeDocument/2006/relationships/slideLayout" Target="../slideLayouts/slideLayout721.xml"/><Relationship Id="rId65" Type="http://schemas.openxmlformats.org/officeDocument/2006/relationships/slideLayout" Target="../slideLayouts/slideLayout726.xml"/><Relationship Id="rId73" Type="http://schemas.openxmlformats.org/officeDocument/2006/relationships/slideLayout" Target="../slideLayouts/slideLayout734.xml"/><Relationship Id="rId78" Type="http://schemas.openxmlformats.org/officeDocument/2006/relationships/slideLayout" Target="../slideLayouts/slideLayout739.xml"/><Relationship Id="rId81" Type="http://schemas.openxmlformats.org/officeDocument/2006/relationships/slideLayout" Target="../slideLayouts/slideLayout742.xml"/><Relationship Id="rId86" Type="http://schemas.openxmlformats.org/officeDocument/2006/relationships/slideLayout" Target="../slideLayouts/slideLayout747.xml"/><Relationship Id="rId4" Type="http://schemas.openxmlformats.org/officeDocument/2006/relationships/slideLayout" Target="../slideLayouts/slideLayout665.xml"/><Relationship Id="rId9" Type="http://schemas.openxmlformats.org/officeDocument/2006/relationships/slideLayout" Target="../slideLayouts/slideLayout670.xml"/><Relationship Id="rId13" Type="http://schemas.openxmlformats.org/officeDocument/2006/relationships/slideLayout" Target="../slideLayouts/slideLayout674.xml"/><Relationship Id="rId18" Type="http://schemas.openxmlformats.org/officeDocument/2006/relationships/slideLayout" Target="../slideLayouts/slideLayout679.xml"/><Relationship Id="rId39" Type="http://schemas.openxmlformats.org/officeDocument/2006/relationships/slideLayout" Target="../slideLayouts/slideLayout700.xml"/><Relationship Id="rId34" Type="http://schemas.openxmlformats.org/officeDocument/2006/relationships/slideLayout" Target="../slideLayouts/slideLayout695.xml"/><Relationship Id="rId50" Type="http://schemas.openxmlformats.org/officeDocument/2006/relationships/slideLayout" Target="../slideLayouts/slideLayout711.xml"/><Relationship Id="rId55" Type="http://schemas.openxmlformats.org/officeDocument/2006/relationships/slideLayout" Target="../slideLayouts/slideLayout716.xml"/><Relationship Id="rId76" Type="http://schemas.openxmlformats.org/officeDocument/2006/relationships/slideLayout" Target="../slideLayouts/slideLayout737.xml"/><Relationship Id="rId7" Type="http://schemas.openxmlformats.org/officeDocument/2006/relationships/slideLayout" Target="../slideLayouts/slideLayout668.xml"/><Relationship Id="rId71" Type="http://schemas.openxmlformats.org/officeDocument/2006/relationships/slideLayout" Target="../slideLayouts/slideLayout732.xml"/><Relationship Id="rId2" Type="http://schemas.openxmlformats.org/officeDocument/2006/relationships/slideLayout" Target="../slideLayouts/slideLayout663.xml"/><Relationship Id="rId29" Type="http://schemas.openxmlformats.org/officeDocument/2006/relationships/slideLayout" Target="../slideLayouts/slideLayout690.xml"/><Relationship Id="rId24" Type="http://schemas.openxmlformats.org/officeDocument/2006/relationships/slideLayout" Target="../slideLayouts/slideLayout685.xml"/><Relationship Id="rId40" Type="http://schemas.openxmlformats.org/officeDocument/2006/relationships/slideLayout" Target="../slideLayouts/slideLayout701.xml"/><Relationship Id="rId45" Type="http://schemas.openxmlformats.org/officeDocument/2006/relationships/slideLayout" Target="../slideLayouts/slideLayout706.xml"/><Relationship Id="rId66" Type="http://schemas.openxmlformats.org/officeDocument/2006/relationships/slideLayout" Target="../slideLayouts/slideLayout727.xml"/><Relationship Id="rId87" Type="http://schemas.openxmlformats.org/officeDocument/2006/relationships/theme" Target="../theme/theme7.xml"/><Relationship Id="rId61" Type="http://schemas.openxmlformats.org/officeDocument/2006/relationships/slideLayout" Target="../slideLayouts/slideLayout722.xml"/><Relationship Id="rId82" Type="http://schemas.openxmlformats.org/officeDocument/2006/relationships/slideLayout" Target="../slideLayouts/slideLayout743.xml"/><Relationship Id="rId19" Type="http://schemas.openxmlformats.org/officeDocument/2006/relationships/slideLayout" Target="../slideLayouts/slideLayout6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5.xml"/><Relationship Id="rId13" Type="http://schemas.openxmlformats.org/officeDocument/2006/relationships/slideLayout" Target="../slideLayouts/slideLayout760.xml"/><Relationship Id="rId18" Type="http://schemas.openxmlformats.org/officeDocument/2006/relationships/slideLayout" Target="../slideLayouts/slideLayout765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750.xml"/><Relationship Id="rId21" Type="http://schemas.openxmlformats.org/officeDocument/2006/relationships/slideLayout" Target="../slideLayouts/slideLayout768.xml"/><Relationship Id="rId7" Type="http://schemas.openxmlformats.org/officeDocument/2006/relationships/slideLayout" Target="../slideLayouts/slideLayout754.xml"/><Relationship Id="rId12" Type="http://schemas.openxmlformats.org/officeDocument/2006/relationships/slideLayout" Target="../slideLayouts/slideLayout759.xml"/><Relationship Id="rId17" Type="http://schemas.openxmlformats.org/officeDocument/2006/relationships/slideLayout" Target="../slideLayouts/slideLayout764.xml"/><Relationship Id="rId25" Type="http://schemas.openxmlformats.org/officeDocument/2006/relationships/slideLayout" Target="../slideLayouts/slideLayout772.xml"/><Relationship Id="rId2" Type="http://schemas.openxmlformats.org/officeDocument/2006/relationships/slideLayout" Target="../slideLayouts/slideLayout749.xml"/><Relationship Id="rId16" Type="http://schemas.openxmlformats.org/officeDocument/2006/relationships/slideLayout" Target="../slideLayouts/slideLayout763.xml"/><Relationship Id="rId20" Type="http://schemas.openxmlformats.org/officeDocument/2006/relationships/slideLayout" Target="../slideLayouts/slideLayout767.xml"/><Relationship Id="rId1" Type="http://schemas.openxmlformats.org/officeDocument/2006/relationships/slideLayout" Target="../slideLayouts/slideLayout748.xml"/><Relationship Id="rId6" Type="http://schemas.openxmlformats.org/officeDocument/2006/relationships/slideLayout" Target="../slideLayouts/slideLayout753.xml"/><Relationship Id="rId11" Type="http://schemas.openxmlformats.org/officeDocument/2006/relationships/slideLayout" Target="../slideLayouts/slideLayout758.xml"/><Relationship Id="rId24" Type="http://schemas.openxmlformats.org/officeDocument/2006/relationships/slideLayout" Target="../slideLayouts/slideLayout771.xml"/><Relationship Id="rId5" Type="http://schemas.openxmlformats.org/officeDocument/2006/relationships/slideLayout" Target="../slideLayouts/slideLayout752.xml"/><Relationship Id="rId15" Type="http://schemas.openxmlformats.org/officeDocument/2006/relationships/slideLayout" Target="../slideLayouts/slideLayout762.xml"/><Relationship Id="rId23" Type="http://schemas.openxmlformats.org/officeDocument/2006/relationships/slideLayout" Target="../slideLayouts/slideLayout770.xml"/><Relationship Id="rId10" Type="http://schemas.openxmlformats.org/officeDocument/2006/relationships/slideLayout" Target="../slideLayouts/slideLayout757.xml"/><Relationship Id="rId19" Type="http://schemas.openxmlformats.org/officeDocument/2006/relationships/slideLayout" Target="../slideLayouts/slideLayout766.xml"/><Relationship Id="rId4" Type="http://schemas.openxmlformats.org/officeDocument/2006/relationships/slideLayout" Target="../slideLayouts/slideLayout751.xml"/><Relationship Id="rId9" Type="http://schemas.openxmlformats.org/officeDocument/2006/relationships/slideLayout" Target="../slideLayouts/slideLayout756.xml"/><Relationship Id="rId14" Type="http://schemas.openxmlformats.org/officeDocument/2006/relationships/slideLayout" Target="../slideLayouts/slideLayout761.xml"/><Relationship Id="rId22" Type="http://schemas.openxmlformats.org/officeDocument/2006/relationships/slideLayout" Target="../slideLayouts/slideLayout769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98.xml"/><Relationship Id="rId21" Type="http://schemas.openxmlformats.org/officeDocument/2006/relationships/slideLayout" Target="../slideLayouts/slideLayout793.xml"/><Relationship Id="rId42" Type="http://schemas.openxmlformats.org/officeDocument/2006/relationships/slideLayout" Target="../slideLayouts/slideLayout814.xml"/><Relationship Id="rId47" Type="http://schemas.openxmlformats.org/officeDocument/2006/relationships/slideLayout" Target="../slideLayouts/slideLayout819.xml"/><Relationship Id="rId63" Type="http://schemas.openxmlformats.org/officeDocument/2006/relationships/slideLayout" Target="../slideLayouts/slideLayout835.xml"/><Relationship Id="rId68" Type="http://schemas.openxmlformats.org/officeDocument/2006/relationships/slideLayout" Target="../slideLayouts/slideLayout840.xml"/><Relationship Id="rId84" Type="http://schemas.openxmlformats.org/officeDocument/2006/relationships/slideLayout" Target="../slideLayouts/slideLayout856.xml"/><Relationship Id="rId89" Type="http://schemas.openxmlformats.org/officeDocument/2006/relationships/oleObject" Target="../embeddings/oleObject1.bin"/><Relationship Id="rId16" Type="http://schemas.openxmlformats.org/officeDocument/2006/relationships/slideLayout" Target="../slideLayouts/slideLayout788.xml"/><Relationship Id="rId11" Type="http://schemas.openxmlformats.org/officeDocument/2006/relationships/slideLayout" Target="../slideLayouts/slideLayout783.xml"/><Relationship Id="rId32" Type="http://schemas.openxmlformats.org/officeDocument/2006/relationships/slideLayout" Target="../slideLayouts/slideLayout804.xml"/><Relationship Id="rId37" Type="http://schemas.openxmlformats.org/officeDocument/2006/relationships/slideLayout" Target="../slideLayouts/slideLayout809.xml"/><Relationship Id="rId53" Type="http://schemas.openxmlformats.org/officeDocument/2006/relationships/slideLayout" Target="../slideLayouts/slideLayout825.xml"/><Relationship Id="rId58" Type="http://schemas.openxmlformats.org/officeDocument/2006/relationships/slideLayout" Target="../slideLayouts/slideLayout830.xml"/><Relationship Id="rId74" Type="http://schemas.openxmlformats.org/officeDocument/2006/relationships/slideLayout" Target="../slideLayouts/slideLayout846.xml"/><Relationship Id="rId79" Type="http://schemas.openxmlformats.org/officeDocument/2006/relationships/slideLayout" Target="../slideLayouts/slideLayout851.xml"/><Relationship Id="rId5" Type="http://schemas.openxmlformats.org/officeDocument/2006/relationships/slideLayout" Target="../slideLayouts/slideLayout777.xml"/><Relationship Id="rId90" Type="http://schemas.openxmlformats.org/officeDocument/2006/relationships/image" Target="../media/image1.emf"/><Relationship Id="rId14" Type="http://schemas.openxmlformats.org/officeDocument/2006/relationships/slideLayout" Target="../slideLayouts/slideLayout786.xml"/><Relationship Id="rId22" Type="http://schemas.openxmlformats.org/officeDocument/2006/relationships/slideLayout" Target="../slideLayouts/slideLayout794.xml"/><Relationship Id="rId27" Type="http://schemas.openxmlformats.org/officeDocument/2006/relationships/slideLayout" Target="../slideLayouts/slideLayout799.xml"/><Relationship Id="rId30" Type="http://schemas.openxmlformats.org/officeDocument/2006/relationships/slideLayout" Target="../slideLayouts/slideLayout802.xml"/><Relationship Id="rId35" Type="http://schemas.openxmlformats.org/officeDocument/2006/relationships/slideLayout" Target="../slideLayouts/slideLayout807.xml"/><Relationship Id="rId43" Type="http://schemas.openxmlformats.org/officeDocument/2006/relationships/slideLayout" Target="../slideLayouts/slideLayout815.xml"/><Relationship Id="rId48" Type="http://schemas.openxmlformats.org/officeDocument/2006/relationships/slideLayout" Target="../slideLayouts/slideLayout820.xml"/><Relationship Id="rId56" Type="http://schemas.openxmlformats.org/officeDocument/2006/relationships/slideLayout" Target="../slideLayouts/slideLayout828.xml"/><Relationship Id="rId64" Type="http://schemas.openxmlformats.org/officeDocument/2006/relationships/slideLayout" Target="../slideLayouts/slideLayout836.xml"/><Relationship Id="rId69" Type="http://schemas.openxmlformats.org/officeDocument/2006/relationships/slideLayout" Target="../slideLayouts/slideLayout841.xml"/><Relationship Id="rId77" Type="http://schemas.openxmlformats.org/officeDocument/2006/relationships/slideLayout" Target="../slideLayouts/slideLayout849.xml"/><Relationship Id="rId8" Type="http://schemas.openxmlformats.org/officeDocument/2006/relationships/slideLayout" Target="../slideLayouts/slideLayout780.xml"/><Relationship Id="rId51" Type="http://schemas.openxmlformats.org/officeDocument/2006/relationships/slideLayout" Target="../slideLayouts/slideLayout823.xml"/><Relationship Id="rId72" Type="http://schemas.openxmlformats.org/officeDocument/2006/relationships/slideLayout" Target="../slideLayouts/slideLayout844.xml"/><Relationship Id="rId80" Type="http://schemas.openxmlformats.org/officeDocument/2006/relationships/slideLayout" Target="../slideLayouts/slideLayout852.xml"/><Relationship Id="rId85" Type="http://schemas.openxmlformats.org/officeDocument/2006/relationships/slideLayout" Target="../slideLayouts/slideLayout857.xml"/><Relationship Id="rId3" Type="http://schemas.openxmlformats.org/officeDocument/2006/relationships/slideLayout" Target="../slideLayouts/slideLayout775.xml"/><Relationship Id="rId12" Type="http://schemas.openxmlformats.org/officeDocument/2006/relationships/slideLayout" Target="../slideLayouts/slideLayout784.xml"/><Relationship Id="rId17" Type="http://schemas.openxmlformats.org/officeDocument/2006/relationships/slideLayout" Target="../slideLayouts/slideLayout789.xml"/><Relationship Id="rId25" Type="http://schemas.openxmlformats.org/officeDocument/2006/relationships/slideLayout" Target="../slideLayouts/slideLayout797.xml"/><Relationship Id="rId33" Type="http://schemas.openxmlformats.org/officeDocument/2006/relationships/slideLayout" Target="../slideLayouts/slideLayout805.xml"/><Relationship Id="rId38" Type="http://schemas.openxmlformats.org/officeDocument/2006/relationships/slideLayout" Target="../slideLayouts/slideLayout810.xml"/><Relationship Id="rId46" Type="http://schemas.openxmlformats.org/officeDocument/2006/relationships/slideLayout" Target="../slideLayouts/slideLayout818.xml"/><Relationship Id="rId59" Type="http://schemas.openxmlformats.org/officeDocument/2006/relationships/slideLayout" Target="../slideLayouts/slideLayout831.xml"/><Relationship Id="rId67" Type="http://schemas.openxmlformats.org/officeDocument/2006/relationships/slideLayout" Target="../slideLayouts/slideLayout839.xml"/><Relationship Id="rId20" Type="http://schemas.openxmlformats.org/officeDocument/2006/relationships/slideLayout" Target="../slideLayouts/slideLayout792.xml"/><Relationship Id="rId41" Type="http://schemas.openxmlformats.org/officeDocument/2006/relationships/slideLayout" Target="../slideLayouts/slideLayout813.xml"/><Relationship Id="rId54" Type="http://schemas.openxmlformats.org/officeDocument/2006/relationships/slideLayout" Target="../slideLayouts/slideLayout826.xml"/><Relationship Id="rId62" Type="http://schemas.openxmlformats.org/officeDocument/2006/relationships/slideLayout" Target="../slideLayouts/slideLayout834.xml"/><Relationship Id="rId70" Type="http://schemas.openxmlformats.org/officeDocument/2006/relationships/slideLayout" Target="../slideLayouts/slideLayout842.xml"/><Relationship Id="rId75" Type="http://schemas.openxmlformats.org/officeDocument/2006/relationships/slideLayout" Target="../slideLayouts/slideLayout847.xml"/><Relationship Id="rId83" Type="http://schemas.openxmlformats.org/officeDocument/2006/relationships/slideLayout" Target="../slideLayouts/slideLayout855.xml"/><Relationship Id="rId88" Type="http://schemas.openxmlformats.org/officeDocument/2006/relationships/tags" Target="../tags/tag743.xml"/><Relationship Id="rId1" Type="http://schemas.openxmlformats.org/officeDocument/2006/relationships/slideLayout" Target="../slideLayouts/slideLayout773.xml"/><Relationship Id="rId6" Type="http://schemas.openxmlformats.org/officeDocument/2006/relationships/slideLayout" Target="../slideLayouts/slideLayout778.xml"/><Relationship Id="rId15" Type="http://schemas.openxmlformats.org/officeDocument/2006/relationships/slideLayout" Target="../slideLayouts/slideLayout787.xml"/><Relationship Id="rId23" Type="http://schemas.openxmlformats.org/officeDocument/2006/relationships/slideLayout" Target="../slideLayouts/slideLayout795.xml"/><Relationship Id="rId28" Type="http://schemas.openxmlformats.org/officeDocument/2006/relationships/slideLayout" Target="../slideLayouts/slideLayout800.xml"/><Relationship Id="rId36" Type="http://schemas.openxmlformats.org/officeDocument/2006/relationships/slideLayout" Target="../slideLayouts/slideLayout808.xml"/><Relationship Id="rId49" Type="http://schemas.openxmlformats.org/officeDocument/2006/relationships/slideLayout" Target="../slideLayouts/slideLayout821.xml"/><Relationship Id="rId57" Type="http://schemas.openxmlformats.org/officeDocument/2006/relationships/slideLayout" Target="../slideLayouts/slideLayout829.xml"/><Relationship Id="rId10" Type="http://schemas.openxmlformats.org/officeDocument/2006/relationships/slideLayout" Target="../slideLayouts/slideLayout782.xml"/><Relationship Id="rId31" Type="http://schemas.openxmlformats.org/officeDocument/2006/relationships/slideLayout" Target="../slideLayouts/slideLayout803.xml"/><Relationship Id="rId44" Type="http://schemas.openxmlformats.org/officeDocument/2006/relationships/slideLayout" Target="../slideLayouts/slideLayout816.xml"/><Relationship Id="rId52" Type="http://schemas.openxmlformats.org/officeDocument/2006/relationships/slideLayout" Target="../slideLayouts/slideLayout824.xml"/><Relationship Id="rId60" Type="http://schemas.openxmlformats.org/officeDocument/2006/relationships/slideLayout" Target="../slideLayouts/slideLayout832.xml"/><Relationship Id="rId65" Type="http://schemas.openxmlformats.org/officeDocument/2006/relationships/slideLayout" Target="../slideLayouts/slideLayout837.xml"/><Relationship Id="rId73" Type="http://schemas.openxmlformats.org/officeDocument/2006/relationships/slideLayout" Target="../slideLayouts/slideLayout845.xml"/><Relationship Id="rId78" Type="http://schemas.openxmlformats.org/officeDocument/2006/relationships/slideLayout" Target="../slideLayouts/slideLayout850.xml"/><Relationship Id="rId81" Type="http://schemas.openxmlformats.org/officeDocument/2006/relationships/slideLayout" Target="../slideLayouts/slideLayout853.xml"/><Relationship Id="rId86" Type="http://schemas.openxmlformats.org/officeDocument/2006/relationships/slideLayout" Target="../slideLayouts/slideLayout858.xml"/><Relationship Id="rId4" Type="http://schemas.openxmlformats.org/officeDocument/2006/relationships/slideLayout" Target="../slideLayouts/slideLayout776.xml"/><Relationship Id="rId9" Type="http://schemas.openxmlformats.org/officeDocument/2006/relationships/slideLayout" Target="../slideLayouts/slideLayout781.xml"/><Relationship Id="rId13" Type="http://schemas.openxmlformats.org/officeDocument/2006/relationships/slideLayout" Target="../slideLayouts/slideLayout785.xml"/><Relationship Id="rId18" Type="http://schemas.openxmlformats.org/officeDocument/2006/relationships/slideLayout" Target="../slideLayouts/slideLayout790.xml"/><Relationship Id="rId39" Type="http://schemas.openxmlformats.org/officeDocument/2006/relationships/slideLayout" Target="../slideLayouts/slideLayout811.xml"/><Relationship Id="rId34" Type="http://schemas.openxmlformats.org/officeDocument/2006/relationships/slideLayout" Target="../slideLayouts/slideLayout806.xml"/><Relationship Id="rId50" Type="http://schemas.openxmlformats.org/officeDocument/2006/relationships/slideLayout" Target="../slideLayouts/slideLayout822.xml"/><Relationship Id="rId55" Type="http://schemas.openxmlformats.org/officeDocument/2006/relationships/slideLayout" Target="../slideLayouts/slideLayout827.xml"/><Relationship Id="rId76" Type="http://schemas.openxmlformats.org/officeDocument/2006/relationships/slideLayout" Target="../slideLayouts/slideLayout848.xml"/><Relationship Id="rId7" Type="http://schemas.openxmlformats.org/officeDocument/2006/relationships/slideLayout" Target="../slideLayouts/slideLayout779.xml"/><Relationship Id="rId71" Type="http://schemas.openxmlformats.org/officeDocument/2006/relationships/slideLayout" Target="../slideLayouts/slideLayout843.xml"/><Relationship Id="rId2" Type="http://schemas.openxmlformats.org/officeDocument/2006/relationships/slideLayout" Target="../slideLayouts/slideLayout774.xml"/><Relationship Id="rId29" Type="http://schemas.openxmlformats.org/officeDocument/2006/relationships/slideLayout" Target="../slideLayouts/slideLayout801.xml"/><Relationship Id="rId24" Type="http://schemas.openxmlformats.org/officeDocument/2006/relationships/slideLayout" Target="../slideLayouts/slideLayout796.xml"/><Relationship Id="rId40" Type="http://schemas.openxmlformats.org/officeDocument/2006/relationships/slideLayout" Target="../slideLayouts/slideLayout812.xml"/><Relationship Id="rId45" Type="http://schemas.openxmlformats.org/officeDocument/2006/relationships/slideLayout" Target="../slideLayouts/slideLayout817.xml"/><Relationship Id="rId66" Type="http://schemas.openxmlformats.org/officeDocument/2006/relationships/slideLayout" Target="../slideLayouts/slideLayout838.xml"/><Relationship Id="rId87" Type="http://schemas.openxmlformats.org/officeDocument/2006/relationships/theme" Target="../theme/theme9.xml"/><Relationship Id="rId61" Type="http://schemas.openxmlformats.org/officeDocument/2006/relationships/slideLayout" Target="../slideLayouts/slideLayout833.xml"/><Relationship Id="rId82" Type="http://schemas.openxmlformats.org/officeDocument/2006/relationships/slideLayout" Target="../slideLayouts/slideLayout854.xml"/><Relationship Id="rId19" Type="http://schemas.openxmlformats.org/officeDocument/2006/relationships/slideLayout" Target="../slideLayouts/slideLayout7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331405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8" imgW="270" imgH="270" progId="TCLayout.ActiveDocument.1">
                  <p:embed/>
                </p:oleObj>
              </mc:Choice>
              <mc:Fallback>
                <p:oleObj name="think-cell Slide" r:id="rId8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995781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3" r:id="rId1"/>
    <p:sldLayoutId id="2147485340" r:id="rId2"/>
    <p:sldLayoutId id="2147485341" r:id="rId3"/>
    <p:sldLayoutId id="2147485342" r:id="rId4"/>
    <p:sldLayoutId id="2147485343" r:id="rId5"/>
    <p:sldLayoutId id="2147485344" r:id="rId6"/>
    <p:sldLayoutId id="2147485345" r:id="rId7"/>
    <p:sldLayoutId id="2147485346" r:id="rId8"/>
    <p:sldLayoutId id="2147485347" r:id="rId9"/>
    <p:sldLayoutId id="2147485348" r:id="rId10"/>
    <p:sldLayoutId id="2147485349" r:id="rId11"/>
    <p:sldLayoutId id="2147485350" r:id="rId12"/>
    <p:sldLayoutId id="2147485351" r:id="rId13"/>
    <p:sldLayoutId id="2147485352" r:id="rId14"/>
    <p:sldLayoutId id="2147485353" r:id="rId15"/>
    <p:sldLayoutId id="2147485354" r:id="rId16"/>
    <p:sldLayoutId id="2147485355" r:id="rId17"/>
    <p:sldLayoutId id="2147485356" r:id="rId18"/>
    <p:sldLayoutId id="2147485274" r:id="rId19"/>
    <p:sldLayoutId id="2147485275" r:id="rId20"/>
    <p:sldLayoutId id="2147485276" r:id="rId21"/>
    <p:sldLayoutId id="2147485277" r:id="rId22"/>
    <p:sldLayoutId id="2147485278" r:id="rId23"/>
    <p:sldLayoutId id="2147485279" r:id="rId24"/>
    <p:sldLayoutId id="2147485280" r:id="rId25"/>
    <p:sldLayoutId id="2147485281" r:id="rId26"/>
    <p:sldLayoutId id="2147485282" r:id="rId27"/>
    <p:sldLayoutId id="2147485283" r:id="rId28"/>
    <p:sldLayoutId id="2147485284" r:id="rId29"/>
    <p:sldLayoutId id="2147485285" r:id="rId30"/>
    <p:sldLayoutId id="2147485286" r:id="rId31"/>
    <p:sldLayoutId id="2147485287" r:id="rId32"/>
    <p:sldLayoutId id="2147485288" r:id="rId33"/>
    <p:sldLayoutId id="2147485289" r:id="rId34"/>
    <p:sldLayoutId id="2147485290" r:id="rId35"/>
    <p:sldLayoutId id="2147485291" r:id="rId36"/>
    <p:sldLayoutId id="2147485292" r:id="rId37"/>
    <p:sldLayoutId id="2147485293" r:id="rId38"/>
    <p:sldLayoutId id="2147485294" r:id="rId39"/>
    <p:sldLayoutId id="2147485295" r:id="rId40"/>
    <p:sldLayoutId id="2147485296" r:id="rId41"/>
    <p:sldLayoutId id="2147485297" r:id="rId42"/>
    <p:sldLayoutId id="2147485298" r:id="rId43"/>
    <p:sldLayoutId id="2147485299" r:id="rId44"/>
    <p:sldLayoutId id="2147485300" r:id="rId45"/>
    <p:sldLayoutId id="2147485301" r:id="rId46"/>
    <p:sldLayoutId id="2147485302" r:id="rId47"/>
    <p:sldLayoutId id="2147485303" r:id="rId48"/>
    <p:sldLayoutId id="2147485304" r:id="rId49"/>
    <p:sldLayoutId id="2147485305" r:id="rId50"/>
    <p:sldLayoutId id="2147485306" r:id="rId51"/>
    <p:sldLayoutId id="2147485307" r:id="rId52"/>
    <p:sldLayoutId id="2147485308" r:id="rId53"/>
    <p:sldLayoutId id="2147485309" r:id="rId54"/>
    <p:sldLayoutId id="2147485310" r:id="rId55"/>
    <p:sldLayoutId id="2147485311" r:id="rId56"/>
    <p:sldLayoutId id="2147485312" r:id="rId57"/>
    <p:sldLayoutId id="2147485313" r:id="rId58"/>
    <p:sldLayoutId id="2147485314" r:id="rId59"/>
    <p:sldLayoutId id="2147485315" r:id="rId60"/>
    <p:sldLayoutId id="2147485316" r:id="rId61"/>
    <p:sldLayoutId id="2147485317" r:id="rId62"/>
    <p:sldLayoutId id="2147485318" r:id="rId63"/>
    <p:sldLayoutId id="2147485319" r:id="rId64"/>
    <p:sldLayoutId id="2147485320" r:id="rId65"/>
    <p:sldLayoutId id="2147485321" r:id="rId66"/>
    <p:sldLayoutId id="2147485322" r:id="rId67"/>
    <p:sldLayoutId id="2147485323" r:id="rId68"/>
    <p:sldLayoutId id="2147485324" r:id="rId69"/>
    <p:sldLayoutId id="2147485325" r:id="rId70"/>
    <p:sldLayoutId id="2147485326" r:id="rId71"/>
    <p:sldLayoutId id="2147485327" r:id="rId72"/>
    <p:sldLayoutId id="2147485328" r:id="rId73"/>
    <p:sldLayoutId id="2147485329" r:id="rId74"/>
    <p:sldLayoutId id="2147485330" r:id="rId75"/>
    <p:sldLayoutId id="2147485331" r:id="rId76"/>
    <p:sldLayoutId id="2147485332" r:id="rId77"/>
    <p:sldLayoutId id="2147485333" r:id="rId78"/>
    <p:sldLayoutId id="2147485334" r:id="rId79"/>
    <p:sldLayoutId id="2147485335" r:id="rId80"/>
    <p:sldLayoutId id="2147485336" r:id="rId81"/>
    <p:sldLayoutId id="2147485337" r:id="rId82"/>
    <p:sldLayoutId id="2147485338" r:id="rId83"/>
    <p:sldLayoutId id="2147485339" r:id="rId84"/>
    <p:sldLayoutId id="2147485357" r:id="rId8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331405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9" imgW="270" imgH="270" progId="TCLayout.ActiveDocument.1">
                  <p:embed/>
                </p:oleObj>
              </mc:Choice>
              <mc:Fallback>
                <p:oleObj name="think-cell Slide" r:id="rId8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575514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31" r:id="rId1"/>
    <p:sldLayoutId id="2147486932" r:id="rId2"/>
    <p:sldLayoutId id="2147486933" r:id="rId3"/>
    <p:sldLayoutId id="2147486934" r:id="rId4"/>
    <p:sldLayoutId id="2147486935" r:id="rId5"/>
    <p:sldLayoutId id="2147486936" r:id="rId6"/>
    <p:sldLayoutId id="2147486937" r:id="rId7"/>
    <p:sldLayoutId id="2147486938" r:id="rId8"/>
    <p:sldLayoutId id="2147486939" r:id="rId9"/>
    <p:sldLayoutId id="2147486940" r:id="rId10"/>
    <p:sldLayoutId id="2147486941" r:id="rId11"/>
    <p:sldLayoutId id="2147486942" r:id="rId12"/>
    <p:sldLayoutId id="2147486943" r:id="rId13"/>
    <p:sldLayoutId id="2147486944" r:id="rId14"/>
    <p:sldLayoutId id="2147486945" r:id="rId15"/>
    <p:sldLayoutId id="2147486946" r:id="rId16"/>
    <p:sldLayoutId id="2147486947" r:id="rId17"/>
    <p:sldLayoutId id="2147486948" r:id="rId18"/>
    <p:sldLayoutId id="2147486949" r:id="rId19"/>
    <p:sldLayoutId id="2147486950" r:id="rId20"/>
    <p:sldLayoutId id="2147486951" r:id="rId21"/>
    <p:sldLayoutId id="2147486952" r:id="rId22"/>
    <p:sldLayoutId id="2147486953" r:id="rId23"/>
    <p:sldLayoutId id="2147486954" r:id="rId24"/>
    <p:sldLayoutId id="2147486955" r:id="rId25"/>
    <p:sldLayoutId id="2147486956" r:id="rId26"/>
    <p:sldLayoutId id="2147486957" r:id="rId27"/>
    <p:sldLayoutId id="2147486958" r:id="rId28"/>
    <p:sldLayoutId id="2147486959" r:id="rId29"/>
    <p:sldLayoutId id="2147486960" r:id="rId30"/>
    <p:sldLayoutId id="2147486961" r:id="rId31"/>
    <p:sldLayoutId id="2147486962" r:id="rId32"/>
    <p:sldLayoutId id="2147486963" r:id="rId33"/>
    <p:sldLayoutId id="2147486964" r:id="rId34"/>
    <p:sldLayoutId id="2147486965" r:id="rId35"/>
    <p:sldLayoutId id="2147486966" r:id="rId36"/>
    <p:sldLayoutId id="2147486967" r:id="rId37"/>
    <p:sldLayoutId id="2147486968" r:id="rId38"/>
    <p:sldLayoutId id="2147486969" r:id="rId39"/>
    <p:sldLayoutId id="2147486970" r:id="rId40"/>
    <p:sldLayoutId id="2147486971" r:id="rId41"/>
    <p:sldLayoutId id="2147486972" r:id="rId42"/>
    <p:sldLayoutId id="2147486973" r:id="rId43"/>
    <p:sldLayoutId id="2147486974" r:id="rId44"/>
    <p:sldLayoutId id="2147486975" r:id="rId45"/>
    <p:sldLayoutId id="2147486976" r:id="rId46"/>
    <p:sldLayoutId id="2147486977" r:id="rId47"/>
    <p:sldLayoutId id="2147486978" r:id="rId48"/>
    <p:sldLayoutId id="2147486979" r:id="rId49"/>
    <p:sldLayoutId id="2147486980" r:id="rId50"/>
    <p:sldLayoutId id="2147486981" r:id="rId51"/>
    <p:sldLayoutId id="2147486982" r:id="rId52"/>
    <p:sldLayoutId id="2147486983" r:id="rId53"/>
    <p:sldLayoutId id="2147486984" r:id="rId54"/>
    <p:sldLayoutId id="2147486985" r:id="rId55"/>
    <p:sldLayoutId id="2147486986" r:id="rId56"/>
    <p:sldLayoutId id="2147486987" r:id="rId57"/>
    <p:sldLayoutId id="2147486988" r:id="rId58"/>
    <p:sldLayoutId id="2147486989" r:id="rId59"/>
    <p:sldLayoutId id="2147486990" r:id="rId60"/>
    <p:sldLayoutId id="2147486991" r:id="rId61"/>
    <p:sldLayoutId id="2147486992" r:id="rId62"/>
    <p:sldLayoutId id="2147486993" r:id="rId63"/>
    <p:sldLayoutId id="2147486994" r:id="rId64"/>
    <p:sldLayoutId id="2147486995" r:id="rId65"/>
    <p:sldLayoutId id="2147486996" r:id="rId66"/>
    <p:sldLayoutId id="2147486997" r:id="rId67"/>
    <p:sldLayoutId id="2147486998" r:id="rId68"/>
    <p:sldLayoutId id="2147486999" r:id="rId69"/>
    <p:sldLayoutId id="2147487000" r:id="rId70"/>
    <p:sldLayoutId id="2147487001" r:id="rId71"/>
    <p:sldLayoutId id="2147487002" r:id="rId72"/>
    <p:sldLayoutId id="2147487003" r:id="rId73"/>
    <p:sldLayoutId id="2147487004" r:id="rId74"/>
    <p:sldLayoutId id="2147487005" r:id="rId75"/>
    <p:sldLayoutId id="2147487006" r:id="rId76"/>
    <p:sldLayoutId id="2147487007" r:id="rId77"/>
    <p:sldLayoutId id="2147487008" r:id="rId78"/>
    <p:sldLayoutId id="2147487009" r:id="rId79"/>
    <p:sldLayoutId id="2147487010" r:id="rId80"/>
    <p:sldLayoutId id="2147487011" r:id="rId81"/>
    <p:sldLayoutId id="2147487012" r:id="rId82"/>
    <p:sldLayoutId id="2147487013" r:id="rId83"/>
    <p:sldLayoutId id="2147487014" r:id="rId84"/>
    <p:sldLayoutId id="2147487015" r:id="rId85"/>
    <p:sldLayoutId id="2147487016" r:id="rId8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6"/>
            </p:custDataLst>
            <p:extLst>
              <p:ext uri="{D42A27DB-BD31-4B8C-83A1-F6EECF244321}">
                <p14:modId xmlns:p14="http://schemas.microsoft.com/office/powerpoint/2010/main" val="331405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7" imgW="270" imgH="270" progId="TCLayout.ActiveDocument.1">
                  <p:embed/>
                </p:oleObj>
              </mc:Choice>
              <mc:Fallback>
                <p:oleObj name="think-cell Slide" r:id="rId23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795944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9" r:id="rId1"/>
    <p:sldLayoutId id="2147485360" r:id="rId2"/>
    <p:sldLayoutId id="2147485361" r:id="rId3"/>
    <p:sldLayoutId id="2147485362" r:id="rId4"/>
    <p:sldLayoutId id="2147485363" r:id="rId5"/>
    <p:sldLayoutId id="2147485364" r:id="rId6"/>
    <p:sldLayoutId id="2147485365" r:id="rId7"/>
    <p:sldLayoutId id="2147485366" r:id="rId8"/>
    <p:sldLayoutId id="2147485367" r:id="rId9"/>
    <p:sldLayoutId id="2147485368" r:id="rId10"/>
    <p:sldLayoutId id="2147485369" r:id="rId11"/>
    <p:sldLayoutId id="2147485370" r:id="rId12"/>
    <p:sldLayoutId id="2147485371" r:id="rId13"/>
    <p:sldLayoutId id="2147485372" r:id="rId14"/>
    <p:sldLayoutId id="2147485373" r:id="rId15"/>
    <p:sldLayoutId id="2147485374" r:id="rId16"/>
    <p:sldLayoutId id="2147485375" r:id="rId17"/>
    <p:sldLayoutId id="2147485376" r:id="rId18"/>
    <p:sldLayoutId id="2147485377" r:id="rId19"/>
    <p:sldLayoutId id="2147485378" r:id="rId20"/>
    <p:sldLayoutId id="2147485379" r:id="rId21"/>
    <p:sldLayoutId id="2147485380" r:id="rId22"/>
    <p:sldLayoutId id="2147485381" r:id="rId23"/>
    <p:sldLayoutId id="2147485382" r:id="rId24"/>
    <p:sldLayoutId id="2147485383" r:id="rId25"/>
    <p:sldLayoutId id="2147485384" r:id="rId26"/>
    <p:sldLayoutId id="2147485385" r:id="rId27"/>
    <p:sldLayoutId id="2147485386" r:id="rId28"/>
    <p:sldLayoutId id="2147485387" r:id="rId29"/>
    <p:sldLayoutId id="2147485388" r:id="rId30"/>
    <p:sldLayoutId id="2147485389" r:id="rId31"/>
    <p:sldLayoutId id="2147485390" r:id="rId32"/>
    <p:sldLayoutId id="2147485391" r:id="rId33"/>
    <p:sldLayoutId id="2147485392" r:id="rId34"/>
    <p:sldLayoutId id="2147485393" r:id="rId35"/>
    <p:sldLayoutId id="2147485394" r:id="rId36"/>
    <p:sldLayoutId id="2147485395" r:id="rId37"/>
    <p:sldLayoutId id="2147485396" r:id="rId38"/>
    <p:sldLayoutId id="2147485397" r:id="rId39"/>
    <p:sldLayoutId id="2147485398" r:id="rId40"/>
    <p:sldLayoutId id="2147485399" r:id="rId41"/>
    <p:sldLayoutId id="2147485400" r:id="rId42"/>
    <p:sldLayoutId id="2147485401" r:id="rId43"/>
    <p:sldLayoutId id="2147485402" r:id="rId44"/>
    <p:sldLayoutId id="2147485403" r:id="rId45"/>
    <p:sldLayoutId id="2147485405" r:id="rId46"/>
    <p:sldLayoutId id="2147485406" r:id="rId47"/>
    <p:sldLayoutId id="2147485407" r:id="rId48"/>
    <p:sldLayoutId id="2147485408" r:id="rId49"/>
    <p:sldLayoutId id="2147485409" r:id="rId50"/>
    <p:sldLayoutId id="2147485410" r:id="rId51"/>
    <p:sldLayoutId id="2147485411" r:id="rId52"/>
    <p:sldLayoutId id="2147485412" r:id="rId53"/>
    <p:sldLayoutId id="2147485413" r:id="rId54"/>
    <p:sldLayoutId id="2147485414" r:id="rId55"/>
    <p:sldLayoutId id="2147485415" r:id="rId56"/>
    <p:sldLayoutId id="2147485416" r:id="rId57"/>
    <p:sldLayoutId id="2147485417" r:id="rId58"/>
    <p:sldLayoutId id="2147485418" r:id="rId59"/>
    <p:sldLayoutId id="2147485419" r:id="rId60"/>
    <p:sldLayoutId id="2147485420" r:id="rId61"/>
    <p:sldLayoutId id="2147485421" r:id="rId62"/>
    <p:sldLayoutId id="2147485422" r:id="rId63"/>
    <p:sldLayoutId id="2147485423" r:id="rId64"/>
    <p:sldLayoutId id="2147485424" r:id="rId65"/>
    <p:sldLayoutId id="2147485425" r:id="rId66"/>
    <p:sldLayoutId id="2147485427" r:id="rId67"/>
    <p:sldLayoutId id="2147485428" r:id="rId68"/>
    <p:sldLayoutId id="2147485429" r:id="rId69"/>
    <p:sldLayoutId id="2147485430" r:id="rId70"/>
    <p:sldLayoutId id="2147485431" r:id="rId71"/>
    <p:sldLayoutId id="2147485433" r:id="rId72"/>
    <p:sldLayoutId id="2147485434" r:id="rId73"/>
    <p:sldLayoutId id="2147485435" r:id="rId74"/>
    <p:sldLayoutId id="2147485436" r:id="rId75"/>
    <p:sldLayoutId id="2147485437" r:id="rId76"/>
    <p:sldLayoutId id="2147485438" r:id="rId77"/>
    <p:sldLayoutId id="2147485439" r:id="rId78"/>
    <p:sldLayoutId id="2147485440" r:id="rId79"/>
    <p:sldLayoutId id="2147485441" r:id="rId80"/>
    <p:sldLayoutId id="2147485442" r:id="rId81"/>
    <p:sldLayoutId id="2147485443" r:id="rId82"/>
    <p:sldLayoutId id="2147485444" r:id="rId83"/>
    <p:sldLayoutId id="2147485445" r:id="rId84"/>
    <p:sldLayoutId id="2147485446" r:id="rId85"/>
    <p:sldLayoutId id="2147485447" r:id="rId86"/>
    <p:sldLayoutId id="2147485448" r:id="rId87"/>
    <p:sldLayoutId id="2147485449" r:id="rId88"/>
    <p:sldLayoutId id="2147485452" r:id="rId89"/>
    <p:sldLayoutId id="2147485453" r:id="rId90"/>
    <p:sldLayoutId id="2147485454" r:id="rId91"/>
    <p:sldLayoutId id="2147485455" r:id="rId92"/>
    <p:sldLayoutId id="2147485456" r:id="rId93"/>
    <p:sldLayoutId id="2147485457" r:id="rId94"/>
    <p:sldLayoutId id="2147485458" r:id="rId95"/>
    <p:sldLayoutId id="2147485459" r:id="rId96"/>
    <p:sldLayoutId id="2147485460" r:id="rId97"/>
    <p:sldLayoutId id="2147485461" r:id="rId98"/>
    <p:sldLayoutId id="2147485462" r:id="rId99"/>
    <p:sldLayoutId id="2147485463" r:id="rId100"/>
    <p:sldLayoutId id="2147485464" r:id="rId101"/>
    <p:sldLayoutId id="2147485465" r:id="rId102"/>
    <p:sldLayoutId id="2147485466" r:id="rId103"/>
    <p:sldLayoutId id="2147485467" r:id="rId104"/>
    <p:sldLayoutId id="2147485468" r:id="rId105"/>
    <p:sldLayoutId id="2147485469" r:id="rId106"/>
    <p:sldLayoutId id="2147485470" r:id="rId107"/>
    <p:sldLayoutId id="2147485471" r:id="rId108"/>
    <p:sldLayoutId id="2147485472" r:id="rId109"/>
    <p:sldLayoutId id="2147485473" r:id="rId110"/>
    <p:sldLayoutId id="2147485474" r:id="rId111"/>
    <p:sldLayoutId id="2147485475" r:id="rId112"/>
    <p:sldLayoutId id="2147485476" r:id="rId113"/>
    <p:sldLayoutId id="2147485477" r:id="rId114"/>
    <p:sldLayoutId id="2147485478" r:id="rId115"/>
    <p:sldLayoutId id="2147485479" r:id="rId116"/>
    <p:sldLayoutId id="2147485481" r:id="rId117"/>
    <p:sldLayoutId id="2147485482" r:id="rId118"/>
    <p:sldLayoutId id="2147485483" r:id="rId119"/>
    <p:sldLayoutId id="2147485484" r:id="rId120"/>
    <p:sldLayoutId id="2147485486" r:id="rId121"/>
    <p:sldLayoutId id="2147485487" r:id="rId122"/>
    <p:sldLayoutId id="2147485488" r:id="rId123"/>
    <p:sldLayoutId id="2147485489" r:id="rId124"/>
    <p:sldLayoutId id="2147485490" r:id="rId125"/>
    <p:sldLayoutId id="2147485491" r:id="rId126"/>
    <p:sldLayoutId id="2147485492" r:id="rId127"/>
    <p:sldLayoutId id="2147485493" r:id="rId128"/>
    <p:sldLayoutId id="2147485494" r:id="rId129"/>
    <p:sldLayoutId id="2147485495" r:id="rId130"/>
    <p:sldLayoutId id="2147485496" r:id="rId131"/>
    <p:sldLayoutId id="2147485497" r:id="rId132"/>
    <p:sldLayoutId id="2147485498" r:id="rId133"/>
    <p:sldLayoutId id="2147485499" r:id="rId134"/>
    <p:sldLayoutId id="2147485500" r:id="rId135"/>
    <p:sldLayoutId id="2147485501" r:id="rId136"/>
    <p:sldLayoutId id="2147485502" r:id="rId137"/>
    <p:sldLayoutId id="2147485503" r:id="rId138"/>
    <p:sldLayoutId id="2147485504" r:id="rId139"/>
    <p:sldLayoutId id="2147485505" r:id="rId140"/>
    <p:sldLayoutId id="2147485506" r:id="rId141"/>
    <p:sldLayoutId id="2147485507" r:id="rId142"/>
    <p:sldLayoutId id="2147485509" r:id="rId143"/>
    <p:sldLayoutId id="2147485510" r:id="rId144"/>
    <p:sldLayoutId id="2147485511" r:id="rId145"/>
    <p:sldLayoutId id="2147485512" r:id="rId146"/>
    <p:sldLayoutId id="2147485513" r:id="rId147"/>
    <p:sldLayoutId id="2147485514" r:id="rId148"/>
    <p:sldLayoutId id="2147485515" r:id="rId149"/>
    <p:sldLayoutId id="2147485516" r:id="rId150"/>
    <p:sldLayoutId id="2147485517" r:id="rId151"/>
    <p:sldLayoutId id="2147485518" r:id="rId152"/>
    <p:sldLayoutId id="2147485520" r:id="rId153"/>
    <p:sldLayoutId id="2147485528" r:id="rId154"/>
    <p:sldLayoutId id="2147485529" r:id="rId155"/>
    <p:sldLayoutId id="2147485532" r:id="rId156"/>
    <p:sldLayoutId id="2147485533" r:id="rId157"/>
    <p:sldLayoutId id="2147485534" r:id="rId158"/>
    <p:sldLayoutId id="2147485568" r:id="rId159"/>
    <p:sldLayoutId id="2147485606" r:id="rId160"/>
    <p:sldLayoutId id="2147485607" r:id="rId161"/>
    <p:sldLayoutId id="2147485608" r:id="rId162"/>
    <p:sldLayoutId id="2147485976" r:id="rId163"/>
    <p:sldLayoutId id="2147485990" r:id="rId164"/>
    <p:sldLayoutId id="2147486016" r:id="rId165"/>
    <p:sldLayoutId id="2147486017" r:id="rId166"/>
    <p:sldLayoutId id="2147486018" r:id="rId167"/>
    <p:sldLayoutId id="2147486019" r:id="rId168"/>
    <p:sldLayoutId id="2147486020" r:id="rId169"/>
    <p:sldLayoutId id="2147486021" r:id="rId170"/>
    <p:sldLayoutId id="2147486022" r:id="rId171"/>
    <p:sldLayoutId id="2147486024" r:id="rId172"/>
    <p:sldLayoutId id="2147486025" r:id="rId173"/>
    <p:sldLayoutId id="2147486026" r:id="rId174"/>
    <p:sldLayoutId id="2147486027" r:id="rId175"/>
    <p:sldLayoutId id="2147486028" r:id="rId176"/>
    <p:sldLayoutId id="2147486029" r:id="rId177"/>
    <p:sldLayoutId id="2147486030" r:id="rId178"/>
    <p:sldLayoutId id="2147486031" r:id="rId179"/>
    <p:sldLayoutId id="2147486032" r:id="rId180"/>
    <p:sldLayoutId id="2147486033" r:id="rId181"/>
    <p:sldLayoutId id="2147486034" r:id="rId182"/>
    <p:sldLayoutId id="2147486035" r:id="rId183"/>
    <p:sldLayoutId id="2147486036" r:id="rId184"/>
    <p:sldLayoutId id="2147486037" r:id="rId185"/>
    <p:sldLayoutId id="2147486038" r:id="rId186"/>
    <p:sldLayoutId id="2147486039" r:id="rId187"/>
    <p:sldLayoutId id="2147486040" r:id="rId188"/>
    <p:sldLayoutId id="2147486041" r:id="rId189"/>
    <p:sldLayoutId id="2147486042" r:id="rId190"/>
    <p:sldLayoutId id="2147486043" r:id="rId191"/>
    <p:sldLayoutId id="2147486044" r:id="rId192"/>
    <p:sldLayoutId id="2147486045" r:id="rId193"/>
    <p:sldLayoutId id="2147486046" r:id="rId194"/>
    <p:sldLayoutId id="2147486047" r:id="rId195"/>
    <p:sldLayoutId id="2147486048" r:id="rId196"/>
    <p:sldLayoutId id="2147486049" r:id="rId197"/>
    <p:sldLayoutId id="2147486050" r:id="rId198"/>
    <p:sldLayoutId id="2147486053" r:id="rId199"/>
    <p:sldLayoutId id="2147486054" r:id="rId200"/>
    <p:sldLayoutId id="2147486055" r:id="rId201"/>
    <p:sldLayoutId id="2147486056" r:id="rId202"/>
    <p:sldLayoutId id="2147486057" r:id="rId203"/>
    <p:sldLayoutId id="2147486058" r:id="rId204"/>
    <p:sldLayoutId id="2147486059" r:id="rId205"/>
    <p:sldLayoutId id="2147486060" r:id="rId206"/>
    <p:sldLayoutId id="2147486061" r:id="rId207"/>
    <p:sldLayoutId id="2147486062" r:id="rId208"/>
    <p:sldLayoutId id="2147486063" r:id="rId209"/>
    <p:sldLayoutId id="2147486064" r:id="rId210"/>
    <p:sldLayoutId id="2147486065" r:id="rId211"/>
    <p:sldLayoutId id="2147486066" r:id="rId212"/>
    <p:sldLayoutId id="2147486067" r:id="rId213"/>
    <p:sldLayoutId id="2147486068" r:id="rId214"/>
    <p:sldLayoutId id="2147486069" r:id="rId215"/>
    <p:sldLayoutId id="2147486070" r:id="rId216"/>
    <p:sldLayoutId id="2147486071" r:id="rId217"/>
    <p:sldLayoutId id="2147486072" r:id="rId218"/>
    <p:sldLayoutId id="2147486073" r:id="rId219"/>
    <p:sldLayoutId id="2147486074" r:id="rId220"/>
    <p:sldLayoutId id="2147486075" r:id="rId221"/>
    <p:sldLayoutId id="2147486076" r:id="rId222"/>
    <p:sldLayoutId id="2147486077" r:id="rId223"/>
    <p:sldLayoutId id="2147486078" r:id="rId224"/>
    <p:sldLayoutId id="2147486080" r:id="rId225"/>
    <p:sldLayoutId id="2147486081" r:id="rId226"/>
    <p:sldLayoutId id="2147486082" r:id="rId227"/>
    <p:sldLayoutId id="2147486083" r:id="rId228"/>
    <p:sldLayoutId id="2147486084" r:id="rId229"/>
    <p:sldLayoutId id="2147486085" r:id="rId230"/>
    <p:sldLayoutId id="2147486086" r:id="rId231"/>
    <p:sldLayoutId id="2147486087" r:id="rId232"/>
    <p:sldLayoutId id="2147486088" r:id="rId233"/>
    <p:sldLayoutId id="2147486089" r:id="rId23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6"/>
            </p:custDataLst>
            <p:extLst>
              <p:ext uri="{D42A27DB-BD31-4B8C-83A1-F6EECF244321}">
                <p14:modId xmlns:p14="http://schemas.microsoft.com/office/powerpoint/2010/main" val="146145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7" imgW="270" imgH="270" progId="TCLayout.ActiveDocument.1">
                  <p:embed/>
                </p:oleObj>
              </mc:Choice>
              <mc:Fallback>
                <p:oleObj name="think-cell Slide" r:id="rId8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271445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2" r:id="rId1"/>
    <p:sldLayoutId id="2147485773" r:id="rId2"/>
    <p:sldLayoutId id="2147485774" r:id="rId3"/>
    <p:sldLayoutId id="2147485775" r:id="rId4"/>
    <p:sldLayoutId id="2147485776" r:id="rId5"/>
    <p:sldLayoutId id="2147485777" r:id="rId6"/>
    <p:sldLayoutId id="2147485778" r:id="rId7"/>
    <p:sldLayoutId id="2147485779" r:id="rId8"/>
    <p:sldLayoutId id="2147485780" r:id="rId9"/>
    <p:sldLayoutId id="2147485781" r:id="rId10"/>
    <p:sldLayoutId id="2147485782" r:id="rId11"/>
    <p:sldLayoutId id="2147485783" r:id="rId12"/>
    <p:sldLayoutId id="2147485784" r:id="rId13"/>
    <p:sldLayoutId id="2147485785" r:id="rId14"/>
    <p:sldLayoutId id="2147485786" r:id="rId15"/>
    <p:sldLayoutId id="2147485787" r:id="rId16"/>
    <p:sldLayoutId id="2147485788" r:id="rId17"/>
    <p:sldLayoutId id="2147485789" r:id="rId18"/>
    <p:sldLayoutId id="2147485790" r:id="rId19"/>
    <p:sldLayoutId id="2147485791" r:id="rId20"/>
    <p:sldLayoutId id="2147485792" r:id="rId21"/>
    <p:sldLayoutId id="2147485793" r:id="rId22"/>
    <p:sldLayoutId id="2147485794" r:id="rId23"/>
    <p:sldLayoutId id="2147485795" r:id="rId24"/>
    <p:sldLayoutId id="2147485796" r:id="rId25"/>
    <p:sldLayoutId id="2147485797" r:id="rId26"/>
    <p:sldLayoutId id="2147485798" r:id="rId27"/>
    <p:sldLayoutId id="2147485799" r:id="rId28"/>
    <p:sldLayoutId id="2147485800" r:id="rId29"/>
    <p:sldLayoutId id="2147485801" r:id="rId30"/>
    <p:sldLayoutId id="2147485802" r:id="rId31"/>
    <p:sldLayoutId id="2147485803" r:id="rId32"/>
    <p:sldLayoutId id="2147485804" r:id="rId33"/>
    <p:sldLayoutId id="2147485805" r:id="rId34"/>
    <p:sldLayoutId id="2147485806" r:id="rId35"/>
    <p:sldLayoutId id="2147485807" r:id="rId36"/>
    <p:sldLayoutId id="2147485808" r:id="rId37"/>
    <p:sldLayoutId id="2147485809" r:id="rId38"/>
    <p:sldLayoutId id="2147485810" r:id="rId39"/>
    <p:sldLayoutId id="2147485811" r:id="rId40"/>
    <p:sldLayoutId id="2147485812" r:id="rId41"/>
    <p:sldLayoutId id="2147485813" r:id="rId42"/>
    <p:sldLayoutId id="2147485814" r:id="rId43"/>
    <p:sldLayoutId id="2147485815" r:id="rId44"/>
    <p:sldLayoutId id="2147485816" r:id="rId45"/>
    <p:sldLayoutId id="2147485817" r:id="rId46"/>
    <p:sldLayoutId id="2147485818" r:id="rId47"/>
    <p:sldLayoutId id="2147485819" r:id="rId48"/>
    <p:sldLayoutId id="2147485820" r:id="rId49"/>
    <p:sldLayoutId id="2147485821" r:id="rId50"/>
    <p:sldLayoutId id="2147485822" r:id="rId51"/>
    <p:sldLayoutId id="2147485823" r:id="rId52"/>
    <p:sldLayoutId id="2147485824" r:id="rId53"/>
    <p:sldLayoutId id="2147485825" r:id="rId54"/>
    <p:sldLayoutId id="2147485826" r:id="rId55"/>
    <p:sldLayoutId id="2147485827" r:id="rId56"/>
    <p:sldLayoutId id="2147485828" r:id="rId57"/>
    <p:sldLayoutId id="2147485829" r:id="rId58"/>
    <p:sldLayoutId id="2147485830" r:id="rId59"/>
    <p:sldLayoutId id="2147485831" r:id="rId60"/>
    <p:sldLayoutId id="2147485832" r:id="rId61"/>
    <p:sldLayoutId id="2147485833" r:id="rId62"/>
    <p:sldLayoutId id="2147485834" r:id="rId63"/>
    <p:sldLayoutId id="2147485835" r:id="rId64"/>
    <p:sldLayoutId id="2147485836" r:id="rId65"/>
    <p:sldLayoutId id="2147485837" r:id="rId66"/>
    <p:sldLayoutId id="2147485838" r:id="rId67"/>
    <p:sldLayoutId id="2147485839" r:id="rId68"/>
    <p:sldLayoutId id="2147485840" r:id="rId69"/>
    <p:sldLayoutId id="2147485841" r:id="rId70"/>
    <p:sldLayoutId id="2147485842" r:id="rId71"/>
    <p:sldLayoutId id="2147485843" r:id="rId72"/>
    <p:sldLayoutId id="2147485844" r:id="rId73"/>
    <p:sldLayoutId id="2147485845" r:id="rId74"/>
    <p:sldLayoutId id="2147485846" r:id="rId75"/>
    <p:sldLayoutId id="2147485847" r:id="rId76"/>
    <p:sldLayoutId id="2147485848" r:id="rId77"/>
    <p:sldLayoutId id="2147485849" r:id="rId78"/>
    <p:sldLayoutId id="2147485850" r:id="rId79"/>
    <p:sldLayoutId id="2147485851" r:id="rId80"/>
    <p:sldLayoutId id="2147485852" r:id="rId81"/>
    <p:sldLayoutId id="2147485853" r:id="rId82"/>
    <p:sldLayoutId id="2147485854" r:id="rId83"/>
    <p:sldLayoutId id="2147485855" r:id="rId8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331405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9" imgW="270" imgH="270" progId="TCLayout.ActiveDocument.1">
                  <p:embed/>
                </p:oleObj>
              </mc:Choice>
              <mc:Fallback>
                <p:oleObj name="think-cell Slide" r:id="rId8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3" name="Foliennummernplatzhalter 4">
            <a:extLst>
              <a:ext uri="{FF2B5EF4-FFF2-40B4-BE49-F238E27FC236}">
                <a16:creationId xmlns:a16="http://schemas.microsoft.com/office/drawing/2014/main" id="{1F4F2B2C-5498-39D2-E820-B857D959B3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42900" y="6404475"/>
            <a:ext cx="531813" cy="365125"/>
          </a:xfrm>
          <a:prstGeom prst="rect">
            <a:avLst/>
          </a:prstGeom>
        </p:spPr>
        <p:txBody>
          <a:bodyPr/>
          <a:lstStyle/>
          <a:p>
            <a:fld id="{802006FE-6571-4354-8775-F8708372C2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890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6" r:id="rId1"/>
    <p:sldLayoutId id="2147486197" r:id="rId2"/>
    <p:sldLayoutId id="2147486198" r:id="rId3"/>
    <p:sldLayoutId id="2147486199" r:id="rId4"/>
    <p:sldLayoutId id="2147486200" r:id="rId5"/>
    <p:sldLayoutId id="2147486201" r:id="rId6"/>
    <p:sldLayoutId id="2147486202" r:id="rId7"/>
    <p:sldLayoutId id="2147486203" r:id="rId8"/>
    <p:sldLayoutId id="2147486204" r:id="rId9"/>
    <p:sldLayoutId id="2147486205" r:id="rId10"/>
    <p:sldLayoutId id="2147486206" r:id="rId11"/>
    <p:sldLayoutId id="2147486207" r:id="rId12"/>
    <p:sldLayoutId id="2147486208" r:id="rId13"/>
    <p:sldLayoutId id="2147486209" r:id="rId14"/>
    <p:sldLayoutId id="2147486210" r:id="rId15"/>
    <p:sldLayoutId id="2147486211" r:id="rId16"/>
    <p:sldLayoutId id="2147486212" r:id="rId17"/>
    <p:sldLayoutId id="2147486213" r:id="rId18"/>
    <p:sldLayoutId id="2147486214" r:id="rId19"/>
    <p:sldLayoutId id="2147486215" r:id="rId20"/>
    <p:sldLayoutId id="2147486216" r:id="rId21"/>
    <p:sldLayoutId id="2147486217" r:id="rId22"/>
    <p:sldLayoutId id="2147486218" r:id="rId23"/>
    <p:sldLayoutId id="2147486219" r:id="rId24"/>
    <p:sldLayoutId id="2147486220" r:id="rId25"/>
    <p:sldLayoutId id="2147486221" r:id="rId26"/>
    <p:sldLayoutId id="2147486222" r:id="rId27"/>
    <p:sldLayoutId id="2147486223" r:id="rId28"/>
    <p:sldLayoutId id="2147486224" r:id="rId29"/>
    <p:sldLayoutId id="2147486225" r:id="rId30"/>
    <p:sldLayoutId id="2147486226" r:id="rId31"/>
    <p:sldLayoutId id="2147486227" r:id="rId32"/>
    <p:sldLayoutId id="2147486228" r:id="rId33"/>
    <p:sldLayoutId id="2147486229" r:id="rId34"/>
    <p:sldLayoutId id="2147486230" r:id="rId35"/>
    <p:sldLayoutId id="2147486231" r:id="rId36"/>
    <p:sldLayoutId id="2147486232" r:id="rId37"/>
    <p:sldLayoutId id="2147486233" r:id="rId38"/>
    <p:sldLayoutId id="2147486234" r:id="rId39"/>
    <p:sldLayoutId id="2147486235" r:id="rId40"/>
    <p:sldLayoutId id="2147486236" r:id="rId41"/>
    <p:sldLayoutId id="2147486237" r:id="rId42"/>
    <p:sldLayoutId id="2147486238" r:id="rId43"/>
    <p:sldLayoutId id="2147486239" r:id="rId44"/>
    <p:sldLayoutId id="2147486240" r:id="rId45"/>
    <p:sldLayoutId id="2147486241" r:id="rId46"/>
    <p:sldLayoutId id="2147486242" r:id="rId47"/>
    <p:sldLayoutId id="2147486243" r:id="rId48"/>
    <p:sldLayoutId id="2147486244" r:id="rId49"/>
    <p:sldLayoutId id="2147486245" r:id="rId50"/>
    <p:sldLayoutId id="2147486246" r:id="rId51"/>
    <p:sldLayoutId id="2147486247" r:id="rId52"/>
    <p:sldLayoutId id="2147486248" r:id="rId53"/>
    <p:sldLayoutId id="2147486249" r:id="rId54"/>
    <p:sldLayoutId id="2147486250" r:id="rId55"/>
    <p:sldLayoutId id="2147486251" r:id="rId56"/>
    <p:sldLayoutId id="2147486252" r:id="rId57"/>
    <p:sldLayoutId id="2147486253" r:id="rId58"/>
    <p:sldLayoutId id="2147486254" r:id="rId59"/>
    <p:sldLayoutId id="2147486255" r:id="rId60"/>
    <p:sldLayoutId id="2147486256" r:id="rId61"/>
    <p:sldLayoutId id="2147486257" r:id="rId62"/>
    <p:sldLayoutId id="2147486258" r:id="rId63"/>
    <p:sldLayoutId id="2147486259" r:id="rId64"/>
    <p:sldLayoutId id="2147486260" r:id="rId65"/>
    <p:sldLayoutId id="2147486261" r:id="rId66"/>
    <p:sldLayoutId id="2147486262" r:id="rId67"/>
    <p:sldLayoutId id="2147486263" r:id="rId68"/>
    <p:sldLayoutId id="2147486264" r:id="rId69"/>
    <p:sldLayoutId id="2147486265" r:id="rId70"/>
    <p:sldLayoutId id="2147486266" r:id="rId71"/>
    <p:sldLayoutId id="2147486267" r:id="rId72"/>
    <p:sldLayoutId id="2147486268" r:id="rId73"/>
    <p:sldLayoutId id="2147486269" r:id="rId74"/>
    <p:sldLayoutId id="2147486270" r:id="rId75"/>
    <p:sldLayoutId id="2147486271" r:id="rId76"/>
    <p:sldLayoutId id="2147486272" r:id="rId77"/>
    <p:sldLayoutId id="2147486273" r:id="rId78"/>
    <p:sldLayoutId id="2147486274" r:id="rId79"/>
    <p:sldLayoutId id="2147486275" r:id="rId80"/>
    <p:sldLayoutId id="2147486276" r:id="rId81"/>
    <p:sldLayoutId id="2147486277" r:id="rId82"/>
    <p:sldLayoutId id="2147486278" r:id="rId83"/>
    <p:sldLayoutId id="2147486279" r:id="rId84"/>
    <p:sldLayoutId id="2147486280" r:id="rId85"/>
    <p:sldLayoutId id="2147486281" r:id="rId8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331405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9" imgW="270" imgH="270" progId="TCLayout.ActiveDocument.1">
                  <p:embed/>
                </p:oleObj>
              </mc:Choice>
              <mc:Fallback>
                <p:oleObj name="think-cell Slide" r:id="rId8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42973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3" r:id="rId1"/>
    <p:sldLayoutId id="2147486284" r:id="rId2"/>
    <p:sldLayoutId id="2147486285" r:id="rId3"/>
    <p:sldLayoutId id="2147486286" r:id="rId4"/>
    <p:sldLayoutId id="2147486287" r:id="rId5"/>
    <p:sldLayoutId id="2147486288" r:id="rId6"/>
    <p:sldLayoutId id="2147486289" r:id="rId7"/>
    <p:sldLayoutId id="2147486290" r:id="rId8"/>
    <p:sldLayoutId id="2147486291" r:id="rId9"/>
    <p:sldLayoutId id="2147486292" r:id="rId10"/>
    <p:sldLayoutId id="2147486293" r:id="rId11"/>
    <p:sldLayoutId id="2147486294" r:id="rId12"/>
    <p:sldLayoutId id="2147486295" r:id="rId13"/>
    <p:sldLayoutId id="2147486296" r:id="rId14"/>
    <p:sldLayoutId id="2147486297" r:id="rId15"/>
    <p:sldLayoutId id="2147486298" r:id="rId16"/>
    <p:sldLayoutId id="2147486299" r:id="rId17"/>
    <p:sldLayoutId id="2147486300" r:id="rId18"/>
    <p:sldLayoutId id="2147486301" r:id="rId19"/>
    <p:sldLayoutId id="2147486302" r:id="rId20"/>
    <p:sldLayoutId id="2147486303" r:id="rId21"/>
    <p:sldLayoutId id="2147486304" r:id="rId22"/>
    <p:sldLayoutId id="2147486305" r:id="rId23"/>
    <p:sldLayoutId id="2147486306" r:id="rId24"/>
    <p:sldLayoutId id="2147486307" r:id="rId25"/>
    <p:sldLayoutId id="2147486308" r:id="rId26"/>
    <p:sldLayoutId id="2147486309" r:id="rId27"/>
    <p:sldLayoutId id="2147486310" r:id="rId28"/>
    <p:sldLayoutId id="2147486311" r:id="rId29"/>
    <p:sldLayoutId id="2147486312" r:id="rId30"/>
    <p:sldLayoutId id="2147486313" r:id="rId31"/>
    <p:sldLayoutId id="2147486314" r:id="rId32"/>
    <p:sldLayoutId id="2147486315" r:id="rId33"/>
    <p:sldLayoutId id="2147486316" r:id="rId34"/>
    <p:sldLayoutId id="2147486317" r:id="rId35"/>
    <p:sldLayoutId id="2147486318" r:id="rId36"/>
    <p:sldLayoutId id="2147486319" r:id="rId37"/>
    <p:sldLayoutId id="2147486320" r:id="rId38"/>
    <p:sldLayoutId id="2147486321" r:id="rId39"/>
    <p:sldLayoutId id="2147486322" r:id="rId40"/>
    <p:sldLayoutId id="2147486323" r:id="rId41"/>
    <p:sldLayoutId id="2147486324" r:id="rId42"/>
    <p:sldLayoutId id="2147486325" r:id="rId43"/>
    <p:sldLayoutId id="2147486326" r:id="rId44"/>
    <p:sldLayoutId id="2147486327" r:id="rId45"/>
    <p:sldLayoutId id="2147486328" r:id="rId46"/>
    <p:sldLayoutId id="2147486329" r:id="rId47"/>
    <p:sldLayoutId id="2147486330" r:id="rId48"/>
    <p:sldLayoutId id="2147486331" r:id="rId49"/>
    <p:sldLayoutId id="2147486332" r:id="rId50"/>
    <p:sldLayoutId id="2147486333" r:id="rId51"/>
    <p:sldLayoutId id="2147486334" r:id="rId52"/>
    <p:sldLayoutId id="2147486335" r:id="rId53"/>
    <p:sldLayoutId id="2147486336" r:id="rId54"/>
    <p:sldLayoutId id="2147486337" r:id="rId55"/>
    <p:sldLayoutId id="2147486338" r:id="rId56"/>
    <p:sldLayoutId id="2147486339" r:id="rId57"/>
    <p:sldLayoutId id="2147486340" r:id="rId58"/>
    <p:sldLayoutId id="2147486341" r:id="rId59"/>
    <p:sldLayoutId id="2147486342" r:id="rId60"/>
    <p:sldLayoutId id="2147486343" r:id="rId61"/>
    <p:sldLayoutId id="2147486344" r:id="rId62"/>
    <p:sldLayoutId id="2147486345" r:id="rId63"/>
    <p:sldLayoutId id="2147486346" r:id="rId64"/>
    <p:sldLayoutId id="2147486347" r:id="rId65"/>
    <p:sldLayoutId id="2147486348" r:id="rId66"/>
    <p:sldLayoutId id="2147486349" r:id="rId67"/>
    <p:sldLayoutId id="2147486350" r:id="rId68"/>
    <p:sldLayoutId id="2147486351" r:id="rId69"/>
    <p:sldLayoutId id="2147486352" r:id="rId70"/>
    <p:sldLayoutId id="2147486353" r:id="rId71"/>
    <p:sldLayoutId id="2147486354" r:id="rId72"/>
    <p:sldLayoutId id="2147486355" r:id="rId73"/>
    <p:sldLayoutId id="2147486356" r:id="rId74"/>
    <p:sldLayoutId id="2147486357" r:id="rId75"/>
    <p:sldLayoutId id="2147486358" r:id="rId76"/>
    <p:sldLayoutId id="2147486359" r:id="rId77"/>
    <p:sldLayoutId id="2147486360" r:id="rId78"/>
    <p:sldLayoutId id="2147486361" r:id="rId79"/>
    <p:sldLayoutId id="2147486362" r:id="rId80"/>
    <p:sldLayoutId id="2147486363" r:id="rId81"/>
    <p:sldLayoutId id="2147486364" r:id="rId82"/>
    <p:sldLayoutId id="2147486365" r:id="rId83"/>
    <p:sldLayoutId id="2147486366" r:id="rId84"/>
    <p:sldLayoutId id="2147486367" r:id="rId85"/>
    <p:sldLayoutId id="2147486368" r:id="rId8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9" imgW="270" imgH="270" progId="TCLayout.ActiveDocument.1">
                  <p:embed/>
                </p:oleObj>
              </mc:Choice>
              <mc:Fallback>
                <p:oleObj name="think-cell Slide" r:id="rId8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814397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56" r:id="rId1"/>
    <p:sldLayoutId id="2147486457" r:id="rId2"/>
    <p:sldLayoutId id="2147486458" r:id="rId3"/>
    <p:sldLayoutId id="2147486459" r:id="rId4"/>
    <p:sldLayoutId id="2147486460" r:id="rId5"/>
    <p:sldLayoutId id="2147486461" r:id="rId6"/>
    <p:sldLayoutId id="2147486462" r:id="rId7"/>
    <p:sldLayoutId id="2147486463" r:id="rId8"/>
    <p:sldLayoutId id="2147486464" r:id="rId9"/>
    <p:sldLayoutId id="2147486465" r:id="rId10"/>
    <p:sldLayoutId id="2147486466" r:id="rId11"/>
    <p:sldLayoutId id="2147486467" r:id="rId12"/>
    <p:sldLayoutId id="2147486468" r:id="rId13"/>
    <p:sldLayoutId id="2147486469" r:id="rId14"/>
    <p:sldLayoutId id="2147486470" r:id="rId15"/>
    <p:sldLayoutId id="2147486471" r:id="rId16"/>
    <p:sldLayoutId id="2147486472" r:id="rId17"/>
    <p:sldLayoutId id="2147486473" r:id="rId18"/>
    <p:sldLayoutId id="2147486474" r:id="rId19"/>
    <p:sldLayoutId id="2147486475" r:id="rId20"/>
    <p:sldLayoutId id="2147486476" r:id="rId21"/>
    <p:sldLayoutId id="2147486477" r:id="rId22"/>
    <p:sldLayoutId id="2147486478" r:id="rId23"/>
    <p:sldLayoutId id="2147486479" r:id="rId24"/>
    <p:sldLayoutId id="2147486480" r:id="rId25"/>
    <p:sldLayoutId id="2147486481" r:id="rId26"/>
    <p:sldLayoutId id="2147486482" r:id="rId27"/>
    <p:sldLayoutId id="2147486483" r:id="rId28"/>
    <p:sldLayoutId id="2147486484" r:id="rId29"/>
    <p:sldLayoutId id="2147486485" r:id="rId30"/>
    <p:sldLayoutId id="2147486486" r:id="rId31"/>
    <p:sldLayoutId id="2147486487" r:id="rId32"/>
    <p:sldLayoutId id="2147486488" r:id="rId33"/>
    <p:sldLayoutId id="2147486489" r:id="rId34"/>
    <p:sldLayoutId id="2147486490" r:id="rId35"/>
    <p:sldLayoutId id="2147486491" r:id="rId36"/>
    <p:sldLayoutId id="2147486492" r:id="rId37"/>
    <p:sldLayoutId id="2147486493" r:id="rId38"/>
    <p:sldLayoutId id="2147486494" r:id="rId39"/>
    <p:sldLayoutId id="2147486495" r:id="rId40"/>
    <p:sldLayoutId id="2147486496" r:id="rId41"/>
    <p:sldLayoutId id="2147486497" r:id="rId42"/>
    <p:sldLayoutId id="2147486498" r:id="rId43"/>
    <p:sldLayoutId id="2147486499" r:id="rId44"/>
    <p:sldLayoutId id="2147486500" r:id="rId45"/>
    <p:sldLayoutId id="2147486501" r:id="rId46"/>
    <p:sldLayoutId id="2147486502" r:id="rId47"/>
    <p:sldLayoutId id="2147486503" r:id="rId48"/>
    <p:sldLayoutId id="2147486504" r:id="rId49"/>
    <p:sldLayoutId id="2147486505" r:id="rId50"/>
    <p:sldLayoutId id="2147486506" r:id="rId51"/>
    <p:sldLayoutId id="2147486507" r:id="rId52"/>
    <p:sldLayoutId id="2147486508" r:id="rId53"/>
    <p:sldLayoutId id="2147486509" r:id="rId54"/>
    <p:sldLayoutId id="2147486510" r:id="rId55"/>
    <p:sldLayoutId id="2147486511" r:id="rId56"/>
    <p:sldLayoutId id="2147486512" r:id="rId57"/>
    <p:sldLayoutId id="2147486513" r:id="rId58"/>
    <p:sldLayoutId id="2147486514" r:id="rId59"/>
    <p:sldLayoutId id="2147486515" r:id="rId60"/>
    <p:sldLayoutId id="2147486516" r:id="rId61"/>
    <p:sldLayoutId id="2147486517" r:id="rId62"/>
    <p:sldLayoutId id="2147486518" r:id="rId63"/>
    <p:sldLayoutId id="2147486519" r:id="rId64"/>
    <p:sldLayoutId id="2147486520" r:id="rId65"/>
    <p:sldLayoutId id="2147486521" r:id="rId66"/>
    <p:sldLayoutId id="2147486522" r:id="rId67"/>
    <p:sldLayoutId id="2147486523" r:id="rId68"/>
    <p:sldLayoutId id="2147486524" r:id="rId69"/>
    <p:sldLayoutId id="2147486525" r:id="rId70"/>
    <p:sldLayoutId id="2147486526" r:id="rId71"/>
    <p:sldLayoutId id="2147486527" r:id="rId72"/>
    <p:sldLayoutId id="2147486528" r:id="rId73"/>
    <p:sldLayoutId id="2147486529" r:id="rId74"/>
    <p:sldLayoutId id="2147486530" r:id="rId75"/>
    <p:sldLayoutId id="2147486531" r:id="rId76"/>
    <p:sldLayoutId id="2147486532" r:id="rId77"/>
    <p:sldLayoutId id="2147486533" r:id="rId78"/>
    <p:sldLayoutId id="2147486534" r:id="rId79"/>
    <p:sldLayoutId id="2147486535" r:id="rId80"/>
    <p:sldLayoutId id="2147486536" r:id="rId81"/>
    <p:sldLayoutId id="2147486537" r:id="rId82"/>
    <p:sldLayoutId id="2147486538" r:id="rId83"/>
    <p:sldLayoutId id="2147486539" r:id="rId84"/>
    <p:sldLayoutId id="2147486540" r:id="rId85"/>
    <p:sldLayoutId id="2147486541" r:id="rId8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331405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9" imgW="270" imgH="270" progId="TCLayout.ActiveDocument.1">
                  <p:embed/>
                </p:oleObj>
              </mc:Choice>
              <mc:Fallback>
                <p:oleObj name="think-cell Slide" r:id="rId8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54589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44" r:id="rId1"/>
    <p:sldLayoutId id="2147486545" r:id="rId2"/>
    <p:sldLayoutId id="2147486546" r:id="rId3"/>
    <p:sldLayoutId id="2147486547" r:id="rId4"/>
    <p:sldLayoutId id="2147486548" r:id="rId5"/>
    <p:sldLayoutId id="2147486549" r:id="rId6"/>
    <p:sldLayoutId id="2147486550" r:id="rId7"/>
    <p:sldLayoutId id="2147486551" r:id="rId8"/>
    <p:sldLayoutId id="2147486552" r:id="rId9"/>
    <p:sldLayoutId id="2147486553" r:id="rId10"/>
    <p:sldLayoutId id="2147486554" r:id="rId11"/>
    <p:sldLayoutId id="2147486555" r:id="rId12"/>
    <p:sldLayoutId id="2147486556" r:id="rId13"/>
    <p:sldLayoutId id="2147486557" r:id="rId14"/>
    <p:sldLayoutId id="2147486558" r:id="rId15"/>
    <p:sldLayoutId id="2147486559" r:id="rId16"/>
    <p:sldLayoutId id="2147486560" r:id="rId17"/>
    <p:sldLayoutId id="2147486561" r:id="rId18"/>
    <p:sldLayoutId id="2147486562" r:id="rId19"/>
    <p:sldLayoutId id="2147486563" r:id="rId20"/>
    <p:sldLayoutId id="2147486564" r:id="rId21"/>
    <p:sldLayoutId id="2147486565" r:id="rId22"/>
    <p:sldLayoutId id="2147486566" r:id="rId23"/>
    <p:sldLayoutId id="2147486567" r:id="rId24"/>
    <p:sldLayoutId id="2147486568" r:id="rId25"/>
    <p:sldLayoutId id="2147486569" r:id="rId26"/>
    <p:sldLayoutId id="2147486570" r:id="rId27"/>
    <p:sldLayoutId id="2147486571" r:id="rId28"/>
    <p:sldLayoutId id="2147486572" r:id="rId29"/>
    <p:sldLayoutId id="2147486573" r:id="rId30"/>
    <p:sldLayoutId id="2147486574" r:id="rId31"/>
    <p:sldLayoutId id="2147486575" r:id="rId32"/>
    <p:sldLayoutId id="2147486576" r:id="rId33"/>
    <p:sldLayoutId id="2147486577" r:id="rId34"/>
    <p:sldLayoutId id="2147486578" r:id="rId35"/>
    <p:sldLayoutId id="2147486579" r:id="rId36"/>
    <p:sldLayoutId id="2147486580" r:id="rId37"/>
    <p:sldLayoutId id="2147486581" r:id="rId38"/>
    <p:sldLayoutId id="2147486582" r:id="rId39"/>
    <p:sldLayoutId id="2147486583" r:id="rId40"/>
    <p:sldLayoutId id="2147486584" r:id="rId41"/>
    <p:sldLayoutId id="2147486585" r:id="rId42"/>
    <p:sldLayoutId id="2147486586" r:id="rId43"/>
    <p:sldLayoutId id="2147486587" r:id="rId44"/>
    <p:sldLayoutId id="2147486588" r:id="rId45"/>
    <p:sldLayoutId id="2147486589" r:id="rId46"/>
    <p:sldLayoutId id="2147486590" r:id="rId47"/>
    <p:sldLayoutId id="2147486591" r:id="rId48"/>
    <p:sldLayoutId id="2147486592" r:id="rId49"/>
    <p:sldLayoutId id="2147486593" r:id="rId50"/>
    <p:sldLayoutId id="2147486594" r:id="rId51"/>
    <p:sldLayoutId id="2147486595" r:id="rId52"/>
    <p:sldLayoutId id="2147486596" r:id="rId53"/>
    <p:sldLayoutId id="2147486597" r:id="rId54"/>
    <p:sldLayoutId id="2147486598" r:id="rId55"/>
    <p:sldLayoutId id="2147486599" r:id="rId56"/>
    <p:sldLayoutId id="2147486600" r:id="rId57"/>
    <p:sldLayoutId id="2147486601" r:id="rId58"/>
    <p:sldLayoutId id="2147486602" r:id="rId59"/>
    <p:sldLayoutId id="2147486603" r:id="rId60"/>
    <p:sldLayoutId id="2147486604" r:id="rId61"/>
    <p:sldLayoutId id="2147486605" r:id="rId62"/>
    <p:sldLayoutId id="2147486606" r:id="rId63"/>
    <p:sldLayoutId id="2147486607" r:id="rId64"/>
    <p:sldLayoutId id="2147486608" r:id="rId65"/>
    <p:sldLayoutId id="2147486609" r:id="rId66"/>
    <p:sldLayoutId id="2147486610" r:id="rId67"/>
    <p:sldLayoutId id="2147486611" r:id="rId68"/>
    <p:sldLayoutId id="2147486612" r:id="rId69"/>
    <p:sldLayoutId id="2147486613" r:id="rId70"/>
    <p:sldLayoutId id="2147486614" r:id="rId71"/>
    <p:sldLayoutId id="2147486615" r:id="rId72"/>
    <p:sldLayoutId id="2147486616" r:id="rId73"/>
    <p:sldLayoutId id="2147486617" r:id="rId74"/>
    <p:sldLayoutId id="2147486618" r:id="rId75"/>
    <p:sldLayoutId id="2147486619" r:id="rId76"/>
    <p:sldLayoutId id="2147486620" r:id="rId77"/>
    <p:sldLayoutId id="2147486621" r:id="rId78"/>
    <p:sldLayoutId id="2147486622" r:id="rId79"/>
    <p:sldLayoutId id="2147486623" r:id="rId80"/>
    <p:sldLayoutId id="2147486624" r:id="rId81"/>
    <p:sldLayoutId id="2147486625" r:id="rId82"/>
    <p:sldLayoutId id="2147486626" r:id="rId83"/>
    <p:sldLayoutId id="2147486627" r:id="rId84"/>
    <p:sldLayoutId id="2147486628" r:id="rId85"/>
    <p:sldLayoutId id="2147486630" r:id="rId8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Teva Sans" panose="020B0604030202020203" pitchFamily="34" charset="77"/>
              </a:defRPr>
            </a:lvl1pPr>
          </a:lstStyle>
          <a:p>
            <a:fld id="{C1FF6DA9-008F-8B48-92A6-B652298478BF}" type="slidenum">
              <a:rPr lang="en-US" smtClean="0"/>
              <a:pPr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98624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32" r:id="rId1"/>
    <p:sldLayoutId id="2147486633" r:id="rId2"/>
    <p:sldLayoutId id="2147486634" r:id="rId3"/>
    <p:sldLayoutId id="2147486635" r:id="rId4"/>
    <p:sldLayoutId id="2147486636" r:id="rId5"/>
    <p:sldLayoutId id="2147486637" r:id="rId6"/>
    <p:sldLayoutId id="2147486638" r:id="rId7"/>
    <p:sldLayoutId id="2147486639" r:id="rId8"/>
    <p:sldLayoutId id="2147486640" r:id="rId9"/>
    <p:sldLayoutId id="2147486641" r:id="rId10"/>
    <p:sldLayoutId id="2147486642" r:id="rId11"/>
    <p:sldLayoutId id="2147486643" r:id="rId12"/>
    <p:sldLayoutId id="2147486644" r:id="rId13"/>
    <p:sldLayoutId id="2147486645" r:id="rId14"/>
    <p:sldLayoutId id="2147486646" r:id="rId15"/>
    <p:sldLayoutId id="2147486647" r:id="rId16"/>
    <p:sldLayoutId id="2147486648" r:id="rId17"/>
    <p:sldLayoutId id="2147486649" r:id="rId18"/>
    <p:sldLayoutId id="2147486650" r:id="rId19"/>
    <p:sldLayoutId id="2147486651" r:id="rId20"/>
    <p:sldLayoutId id="2147486652" r:id="rId21"/>
    <p:sldLayoutId id="2147486653" r:id="rId22"/>
    <p:sldLayoutId id="2147486654" r:id="rId23"/>
    <p:sldLayoutId id="2147486655" r:id="rId24"/>
    <p:sldLayoutId id="2147486656" r:id="rId2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chemeClr val="tx1"/>
          </a:solidFill>
          <a:latin typeface="Teva Sans" panose="020B0604030202020203" pitchFamily="34" charset="77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Teva Sans" panose="020B0604030202020203" pitchFamily="34" charset="77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Teva Sans" panose="020B0604030202020203" pitchFamily="34" charset="77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Teva Sans" panose="020B0604030202020203" pitchFamily="34" charset="77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Teva Sans" panose="020B0604030202020203" pitchFamily="34" charset="77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Teva Sans" panose="020B0604030202020203" pitchFamily="34" charset="77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9" imgW="270" imgH="270" progId="TCLayout.ActiveDocument.1">
                  <p:embed/>
                </p:oleObj>
              </mc:Choice>
              <mc:Fallback>
                <p:oleObj name="think-cell Slide" r:id="rId8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3888" y="303713"/>
            <a:ext cx="10944223" cy="546498"/>
          </a:xfrm>
          <a:prstGeom prst="rect">
            <a:avLst/>
          </a:prstGeom>
        </p:spPr>
        <p:txBody>
          <a:bodyPr vert="horz" lIns="0" tIns="0" rIns="0" bIns="0" anchor="t" anchorCtr="0"/>
          <a:lstStyle/>
          <a:p>
            <a:pPr marL="0" marR="0" lvl="0" indent="0" rtl="1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3888" y="1567656"/>
            <a:ext cx="10944223" cy="424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630688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58" r:id="rId1"/>
    <p:sldLayoutId id="2147486659" r:id="rId2"/>
    <p:sldLayoutId id="2147486660" r:id="rId3"/>
    <p:sldLayoutId id="2147486661" r:id="rId4"/>
    <p:sldLayoutId id="2147486662" r:id="rId5"/>
    <p:sldLayoutId id="2147486663" r:id="rId6"/>
    <p:sldLayoutId id="2147486664" r:id="rId7"/>
    <p:sldLayoutId id="2147486665" r:id="rId8"/>
    <p:sldLayoutId id="2147486666" r:id="rId9"/>
    <p:sldLayoutId id="2147486667" r:id="rId10"/>
    <p:sldLayoutId id="2147486668" r:id="rId11"/>
    <p:sldLayoutId id="2147486669" r:id="rId12"/>
    <p:sldLayoutId id="2147486670" r:id="rId13"/>
    <p:sldLayoutId id="2147486671" r:id="rId14"/>
    <p:sldLayoutId id="2147486672" r:id="rId15"/>
    <p:sldLayoutId id="2147486673" r:id="rId16"/>
    <p:sldLayoutId id="2147486674" r:id="rId17"/>
    <p:sldLayoutId id="2147486675" r:id="rId18"/>
    <p:sldLayoutId id="2147486676" r:id="rId19"/>
    <p:sldLayoutId id="2147486677" r:id="rId20"/>
    <p:sldLayoutId id="2147486678" r:id="rId21"/>
    <p:sldLayoutId id="2147486679" r:id="rId22"/>
    <p:sldLayoutId id="2147486680" r:id="rId23"/>
    <p:sldLayoutId id="2147486681" r:id="rId24"/>
    <p:sldLayoutId id="2147486682" r:id="rId25"/>
    <p:sldLayoutId id="2147486683" r:id="rId26"/>
    <p:sldLayoutId id="2147486684" r:id="rId27"/>
    <p:sldLayoutId id="2147486685" r:id="rId28"/>
    <p:sldLayoutId id="2147486686" r:id="rId29"/>
    <p:sldLayoutId id="2147486687" r:id="rId30"/>
    <p:sldLayoutId id="2147486688" r:id="rId31"/>
    <p:sldLayoutId id="2147486689" r:id="rId32"/>
    <p:sldLayoutId id="2147486690" r:id="rId33"/>
    <p:sldLayoutId id="2147486691" r:id="rId34"/>
    <p:sldLayoutId id="2147486692" r:id="rId35"/>
    <p:sldLayoutId id="2147486693" r:id="rId36"/>
    <p:sldLayoutId id="2147486694" r:id="rId37"/>
    <p:sldLayoutId id="2147486695" r:id="rId38"/>
    <p:sldLayoutId id="2147486696" r:id="rId39"/>
    <p:sldLayoutId id="2147486697" r:id="rId40"/>
    <p:sldLayoutId id="2147486698" r:id="rId41"/>
    <p:sldLayoutId id="2147486699" r:id="rId42"/>
    <p:sldLayoutId id="2147486700" r:id="rId43"/>
    <p:sldLayoutId id="2147486701" r:id="rId44"/>
    <p:sldLayoutId id="2147486702" r:id="rId45"/>
    <p:sldLayoutId id="2147486703" r:id="rId46"/>
    <p:sldLayoutId id="2147486704" r:id="rId47"/>
    <p:sldLayoutId id="2147486705" r:id="rId48"/>
    <p:sldLayoutId id="2147486706" r:id="rId49"/>
    <p:sldLayoutId id="2147486707" r:id="rId50"/>
    <p:sldLayoutId id="2147486708" r:id="rId51"/>
    <p:sldLayoutId id="2147486709" r:id="rId52"/>
    <p:sldLayoutId id="2147486710" r:id="rId53"/>
    <p:sldLayoutId id="2147486711" r:id="rId54"/>
    <p:sldLayoutId id="2147486712" r:id="rId55"/>
    <p:sldLayoutId id="2147486713" r:id="rId56"/>
    <p:sldLayoutId id="2147486714" r:id="rId57"/>
    <p:sldLayoutId id="2147486715" r:id="rId58"/>
    <p:sldLayoutId id="2147486716" r:id="rId59"/>
    <p:sldLayoutId id="2147486717" r:id="rId60"/>
    <p:sldLayoutId id="2147486718" r:id="rId61"/>
    <p:sldLayoutId id="2147486719" r:id="rId62"/>
    <p:sldLayoutId id="2147486720" r:id="rId63"/>
    <p:sldLayoutId id="2147486721" r:id="rId64"/>
    <p:sldLayoutId id="2147486722" r:id="rId65"/>
    <p:sldLayoutId id="2147486723" r:id="rId66"/>
    <p:sldLayoutId id="2147486724" r:id="rId67"/>
    <p:sldLayoutId id="2147486725" r:id="rId68"/>
    <p:sldLayoutId id="2147486726" r:id="rId69"/>
    <p:sldLayoutId id="2147486727" r:id="rId70"/>
    <p:sldLayoutId id="2147486728" r:id="rId71"/>
    <p:sldLayoutId id="2147486729" r:id="rId72"/>
    <p:sldLayoutId id="2147486730" r:id="rId73"/>
    <p:sldLayoutId id="2147486731" r:id="rId74"/>
    <p:sldLayoutId id="2147486732" r:id="rId75"/>
    <p:sldLayoutId id="2147486733" r:id="rId76"/>
    <p:sldLayoutId id="2147486734" r:id="rId77"/>
    <p:sldLayoutId id="2147486735" r:id="rId78"/>
    <p:sldLayoutId id="2147486736" r:id="rId79"/>
    <p:sldLayoutId id="2147486737" r:id="rId80"/>
    <p:sldLayoutId id="2147486738" r:id="rId81"/>
    <p:sldLayoutId id="2147486739" r:id="rId82"/>
    <p:sldLayoutId id="2147486740" r:id="rId83"/>
    <p:sldLayoutId id="2147486741" r:id="rId84"/>
    <p:sldLayoutId id="2147486742" r:id="rId85"/>
    <p:sldLayoutId id="2147486743" r:id="rId8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gradFill>
            <a:gsLst>
              <a:gs pos="56000">
                <a:srgbClr val="00A03B"/>
              </a:gs>
              <a:gs pos="0">
                <a:srgbClr val="00A03B"/>
              </a:gs>
              <a:gs pos="100000">
                <a:srgbClr val="AFCB37"/>
              </a:gs>
            </a:gsLst>
            <a:lin ang="0" scaled="0"/>
          </a:gradFill>
          <a:effectLst/>
          <a:uLnTx/>
          <a:uFillTx/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•"/>
        <a:defRPr lang="en-US" sz="1200" kern="120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kern="120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A03B"/>
        </a:buClr>
        <a:buFont typeface="Arial" panose="020B0604020202020204" pitchFamily="34" charset="0"/>
        <a:buChar char="​"/>
        <a:defRPr lang="en-US" sz="1600" b="1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A03B"/>
        </a:buClr>
        <a:buFont typeface="Arial" panose="020B0604020202020204" pitchFamily="34" charset="0"/>
        <a:buChar char="•"/>
        <a:defRPr lang="en-US" sz="1600" kern="120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4242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A03B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A03B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A03B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8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6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76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varise.com/home_sub_sys_2833?qmzn=QVqWoV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57.xml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7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12" Type="http://schemas.openxmlformats.org/officeDocument/2006/relationships/image" Target="../media/image76.emf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62.xml"/><Relationship Id="rId6" Type="http://schemas.openxmlformats.org/officeDocument/2006/relationships/image" Target="../media/image71.png"/><Relationship Id="rId11" Type="http://schemas.openxmlformats.org/officeDocument/2006/relationships/image" Target="../media/image75.png"/><Relationship Id="rId5" Type="http://schemas.openxmlformats.org/officeDocument/2006/relationships/image" Target="../media/image70.png"/><Relationship Id="rId15" Type="http://schemas.openxmlformats.org/officeDocument/2006/relationships/image" Target="../media/image79.png"/><Relationship Id="rId10" Type="http://schemas.microsoft.com/office/2007/relationships/hdphoto" Target="../media/hdphoto1.wdp"/><Relationship Id="rId4" Type="http://schemas.openxmlformats.org/officeDocument/2006/relationships/image" Target="../media/image69.svg"/><Relationship Id="rId9" Type="http://schemas.openxmlformats.org/officeDocument/2006/relationships/image" Target="../media/image74.png"/><Relationship Id="rId14" Type="http://schemas.openxmlformats.org/officeDocument/2006/relationships/image" Target="../media/image7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image" Target="../media/image40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61.xml"/><Relationship Id="rId6" Type="http://schemas.openxmlformats.org/officeDocument/2006/relationships/image" Target="../media/image81.svg"/><Relationship Id="rId5" Type="http://schemas.openxmlformats.org/officeDocument/2006/relationships/image" Target="../media/image80.png"/><Relationship Id="rId4" Type="http://schemas.openxmlformats.org/officeDocument/2006/relationships/image" Target="../media/image4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svg"/><Relationship Id="rId7" Type="http://schemas.openxmlformats.org/officeDocument/2006/relationships/image" Target="../media/image89.sv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62.xml"/><Relationship Id="rId6" Type="http://schemas.openxmlformats.org/officeDocument/2006/relationships/image" Target="../media/image88.png"/><Relationship Id="rId5" Type="http://schemas.openxmlformats.org/officeDocument/2006/relationships/image" Target="../media/image87.svg"/><Relationship Id="rId4" Type="http://schemas.openxmlformats.org/officeDocument/2006/relationships/image" Target="../media/image8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1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4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4D6712-295C-E1F5-2EC0-A206574DE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ack background with blue and green text&#10;&#10;AI-generated content may be incorrect.">
            <a:extLst>
              <a:ext uri="{FF2B5EF4-FFF2-40B4-BE49-F238E27FC236}">
                <a16:creationId xmlns:a16="http://schemas.microsoft.com/office/drawing/2014/main" id="{9F56D2D0-CD6D-B2B5-F8E4-7BCDD434FE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0831" t="44445" r="20831" b="42651"/>
          <a:stretch/>
        </p:blipFill>
        <p:spPr>
          <a:xfrm>
            <a:off x="500426" y="2101754"/>
            <a:ext cx="3058472" cy="9567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CE89A48-DFAA-72D6-8EB8-F83C2E675E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0760" y="2152484"/>
            <a:ext cx="2820780" cy="63224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8CE2E49-31F4-C633-5BA1-8CEF7AB0FFAF}"/>
              </a:ext>
            </a:extLst>
          </p:cNvPr>
          <p:cNvSpPr/>
          <p:nvPr/>
        </p:nvSpPr>
        <p:spPr>
          <a:xfrm>
            <a:off x="0" y="348091"/>
            <a:ext cx="12192000" cy="1109272"/>
          </a:xfrm>
          <a:prstGeom prst="rect">
            <a:avLst/>
          </a:prstGeom>
          <a:gradFill>
            <a:gsLst>
              <a:gs pos="0">
                <a:srgbClr val="108443"/>
              </a:gs>
              <a:gs pos="41317">
                <a:srgbClr val="215C60"/>
              </a:gs>
              <a:gs pos="79000">
                <a:srgbClr val="1E394C"/>
              </a:gs>
              <a:gs pos="100000">
                <a:srgbClr val="162835"/>
              </a:gs>
            </a:gsLst>
            <a:lin ang="2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 Light"/>
                <a:ea typeface="+mn-ea"/>
                <a:cs typeface="+mn-cs"/>
              </a:rPr>
              <a:t>Rise - Umbrella of innovation solutions</a:t>
            </a:r>
            <a:endParaRPr kumimoji="0" lang="he-I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 Ligh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4582B81-FFF5-C6EF-CFD3-C7E742037A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1079" y="3393065"/>
            <a:ext cx="3625702" cy="24179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 descr="A black background with blue and green text&#10;&#10;AI-generated content may be incorrect.">
            <a:extLst>
              <a:ext uri="{FF2B5EF4-FFF2-40B4-BE49-F238E27FC236}">
                <a16:creationId xmlns:a16="http://schemas.microsoft.com/office/drawing/2014/main" id="{C14128E4-1DB0-2611-94BC-C24FE3269C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2623" y="-1143952"/>
            <a:ext cx="5105635" cy="722511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CFA91A4-5086-E21C-17F0-7EFD49261B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03955" y="3393067"/>
            <a:ext cx="3625702" cy="24179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68526FB-1A0D-788B-1BD8-A3F8AC86B2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963" y="3393064"/>
            <a:ext cx="3625702" cy="24179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03362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hlinkClick r:id="rId3"/>
            <a:extLst>
              <a:ext uri="{FF2B5EF4-FFF2-40B4-BE49-F238E27FC236}">
                <a16:creationId xmlns:a16="http://schemas.microsoft.com/office/drawing/2014/main" id="{B9B3D07F-8BD0-96CD-8C9D-4DDAF8A47520}"/>
              </a:ext>
            </a:extLst>
          </p:cNvPr>
          <p:cNvSpPr txBox="1"/>
          <p:nvPr/>
        </p:nvSpPr>
        <p:spPr>
          <a:xfrm>
            <a:off x="9882179" y="6425476"/>
            <a:ext cx="20889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 panose="020B0604030202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tevarise.com</a:t>
            </a:r>
            <a:endParaRPr kumimoji="0" lang="he-IL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va Sans" panose="020B0604030202020203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3CEE14F-80D8-6EFD-F162-DB185E995D05}"/>
              </a:ext>
            </a:extLst>
          </p:cNvPr>
          <p:cNvSpPr/>
          <p:nvPr/>
        </p:nvSpPr>
        <p:spPr>
          <a:xfrm>
            <a:off x="-696294" y="999911"/>
            <a:ext cx="5887063" cy="1792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e-IL" sz="3200">
              <a:solidFill>
                <a:schemeClr val="tx1"/>
              </a:solidFill>
              <a:latin typeface="Teva Sans" panose="020B0604030202020203" pitchFamily="34" charset="0"/>
            </a:endParaRPr>
          </a:p>
        </p:txBody>
      </p:sp>
      <p:pic>
        <p:nvPicPr>
          <p:cNvPr id="15" name="Picture 14" descr="A black background with blue and green text&#10;&#10;AI-generated content may be incorrect.">
            <a:extLst>
              <a:ext uri="{FF2B5EF4-FFF2-40B4-BE49-F238E27FC236}">
                <a16:creationId xmlns:a16="http://schemas.microsoft.com/office/drawing/2014/main" id="{89C2B711-42F8-CAD9-AE36-23F0CC3B3E2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1365" y="1178154"/>
            <a:ext cx="4619983" cy="1445244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E6B1A33-2109-87E4-E73E-747549D31C05}"/>
              </a:ext>
            </a:extLst>
          </p:cNvPr>
          <p:cNvSpPr txBox="1">
            <a:spLocks/>
          </p:cNvSpPr>
          <p:nvPr/>
        </p:nvSpPr>
        <p:spPr>
          <a:xfrm>
            <a:off x="399889" y="3134143"/>
            <a:ext cx="6894046" cy="154988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Teva Sans" panose="020B0604030202020203" pitchFamily="34" charset="77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Teva Sans" panose="020B0604030202020203" pitchFamily="34" charset="77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Teva Sans" panose="020B0604030202020203" pitchFamily="34" charset="77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Teva Sans" panose="020B0604030202020203" pitchFamily="34" charset="77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Teva Sans" panose="020B0604030202020203" pitchFamily="34" charset="77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eva Sans" panose="020B0604030202020203" pitchFamily="34" charset="0"/>
              </a:rPr>
              <a:t>Our bridge for bringing tech innovation to global impact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  <a:t>Dec 2025, Intro</a:t>
            </a:r>
          </a:p>
          <a:p>
            <a:pPr marL="0" indent="0">
              <a:buNone/>
            </a:pPr>
            <a:endParaRPr lang="en-US" sz="4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eva Sans" panose="020B060403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2620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67BBF90-FA9B-AC63-89A0-97D1EB1E9D72}"/>
              </a:ext>
            </a:extLst>
          </p:cNvPr>
          <p:cNvSpPr/>
          <p:nvPr/>
        </p:nvSpPr>
        <p:spPr>
          <a:xfrm>
            <a:off x="413293" y="1278532"/>
            <a:ext cx="4694169" cy="4984245"/>
          </a:xfrm>
          <a:prstGeom prst="roundRect">
            <a:avLst>
              <a:gd name="adj" fmla="val 7712"/>
            </a:avLst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0" b="1" i="0" u="none" strike="noStrike" kern="120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va Sans" panose="020B0604030202020203" pitchFamily="34" charset="0"/>
              <a:ea typeface="+mn-ea"/>
              <a:cs typeface="+mn-cs"/>
            </a:endParaRPr>
          </a:p>
        </p:txBody>
      </p:sp>
      <p:sp>
        <p:nvSpPr>
          <p:cNvPr id="3" name="Rounded Rectangle 11">
            <a:extLst>
              <a:ext uri="{FF2B5EF4-FFF2-40B4-BE49-F238E27FC236}">
                <a16:creationId xmlns:a16="http://schemas.microsoft.com/office/drawing/2014/main" id="{15B9DDD3-4937-FAD1-E81B-0C56FC5DD875}"/>
              </a:ext>
            </a:extLst>
          </p:cNvPr>
          <p:cNvSpPr/>
          <p:nvPr/>
        </p:nvSpPr>
        <p:spPr>
          <a:xfrm>
            <a:off x="6942280" y="4041145"/>
            <a:ext cx="4652951" cy="2216657"/>
          </a:xfrm>
          <a:prstGeom prst="roundRect">
            <a:avLst>
              <a:gd name="adj" fmla="val 7712"/>
            </a:avLst>
          </a:prstGeom>
          <a:noFill/>
          <a:ln w="254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0" b="1" i="0" u="none" strike="noStrike" kern="120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va Sans" panose="020B0604030202020203" pitchFamily="34" charset="0"/>
              <a:ea typeface="+mn-ea"/>
              <a:cs typeface="+mn-cs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AEA07E2B-8CEA-7EDD-F82C-93B7ADDF9F36}"/>
              </a:ext>
            </a:extLst>
          </p:cNvPr>
          <p:cNvSpPr/>
          <p:nvPr/>
        </p:nvSpPr>
        <p:spPr>
          <a:xfrm>
            <a:off x="6942280" y="1280692"/>
            <a:ext cx="4652951" cy="2216657"/>
          </a:xfrm>
          <a:prstGeom prst="roundRect">
            <a:avLst>
              <a:gd name="adj" fmla="val 7712"/>
            </a:avLst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0" b="1" i="0" u="none" strike="noStrike" kern="120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va Sans" panose="020B0604030202020203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3AA331-2933-E936-0395-A728422C73D6}"/>
              </a:ext>
            </a:extLst>
          </p:cNvPr>
          <p:cNvSpPr txBox="1"/>
          <p:nvPr/>
        </p:nvSpPr>
        <p:spPr>
          <a:xfrm>
            <a:off x="646471" y="1536355"/>
            <a:ext cx="4008116" cy="108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va Sans" panose="020B0604030202020203" pitchFamily="34" charset="0"/>
                <a:ea typeface="+mn-ea"/>
                <a:cs typeface="+mn-cs"/>
              </a:rPr>
              <a:t>Systematically seeking new science, technologies and talent to strengthen our R&amp;D and pipeline</a:t>
            </a: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9755B132-3EDF-B1FC-E65F-4D45535F61A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9125" y="5405703"/>
            <a:ext cx="2098133" cy="711617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8D0E92B-C614-FB29-2FA1-587965B087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3471" y="3320501"/>
            <a:ext cx="1855018" cy="5506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DC338A-BC23-A1BE-904A-2DFA5F4182A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7333" y="3759991"/>
            <a:ext cx="1671449" cy="51146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4C214DD-1DA7-C108-9C1A-A48A38E07A8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7471" y="2732517"/>
            <a:ext cx="1679757" cy="4447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B6C1CF3-9AED-4451-71D6-9E12F765771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655" y="4407635"/>
            <a:ext cx="1267081" cy="686692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CBCF9C80-8B9E-832D-927C-AFFFC6A9712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2010" y="4960393"/>
            <a:ext cx="1679757" cy="3180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DE7123A-4A98-9560-DCE1-A7932753E8E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802" y="1536355"/>
            <a:ext cx="1795523" cy="127863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8DB970-2DAC-2EA7-5D94-878D4CF8B5DA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91921" y="1743194"/>
            <a:ext cx="1861149" cy="48389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DF054AE-CB2A-E21A-6DC6-9BDA6ED9DC1D}"/>
              </a:ext>
            </a:extLst>
          </p:cNvPr>
          <p:cNvSpPr txBox="1"/>
          <p:nvPr/>
        </p:nvSpPr>
        <p:spPr>
          <a:xfrm>
            <a:off x="9150008" y="2946373"/>
            <a:ext cx="2024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none" sz="1200" b="1" i="0" u="none" strike="noStrike" kern="1200" cap="none" spc="0" normalizeH="0" baseline="0" noProof="0" dirty="0">
                <a:ln>
                  <a:noFill/>
                </a:ln>
                <a:solidFill>
                  <a:srgbClr val="35786E"/>
                </a:solidFill>
                <a:effectLst/>
                <a:uLnTx/>
                <a:uFillTx/>
                <a:latin typeface="Teva Sans" panose="020B0604030202020203" pitchFamily="34" charset="0"/>
                <a:ea typeface="+mn-ea"/>
                <a:cs typeface="Arial" panose="020B0604020202020204" pitchFamily="34" charset="0"/>
              </a:rPr>
              <a:t>Bioinnovation Student Fellowship &amp; Mentorship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46D0CEC-C258-19D0-4549-1B961B61A11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3397" y="2732855"/>
            <a:ext cx="469297" cy="1640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6798E2B-A4DC-7C83-A31F-E62571FC573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127" y="4447842"/>
            <a:ext cx="955187" cy="64475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61172E-146A-C87D-CFD1-36660CF403A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034242" y="4413035"/>
            <a:ext cx="1438502" cy="88238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0A9E476-D690-4608-FC8A-9DDEF8312969}"/>
              </a:ext>
            </a:extLst>
          </p:cNvPr>
          <p:cNvGrpSpPr/>
          <p:nvPr/>
        </p:nvGrpSpPr>
        <p:grpSpPr>
          <a:xfrm>
            <a:off x="4127415" y="1791406"/>
            <a:ext cx="3937169" cy="3937169"/>
            <a:chOff x="4005939" y="1625850"/>
            <a:chExt cx="3892178" cy="3892178"/>
          </a:xfrm>
          <a:effectLst>
            <a:outerShdw blurRad="342900" dist="165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54F2C9F-7553-B558-184A-8FD0BC2390AA}"/>
                </a:ext>
              </a:extLst>
            </p:cNvPr>
            <p:cNvGrpSpPr/>
            <p:nvPr/>
          </p:nvGrpSpPr>
          <p:grpSpPr>
            <a:xfrm>
              <a:off x="4005939" y="1625850"/>
              <a:ext cx="3892178" cy="3892178"/>
              <a:chOff x="4182856" y="1802767"/>
              <a:chExt cx="3538344" cy="3538344"/>
            </a:xfrm>
          </p:grpSpPr>
          <p:sp>
            <p:nvSpPr>
              <p:cNvPr id="23" name="Partial Circle 22">
                <a:extLst>
                  <a:ext uri="{FF2B5EF4-FFF2-40B4-BE49-F238E27FC236}">
                    <a16:creationId xmlns:a16="http://schemas.microsoft.com/office/drawing/2014/main" id="{171384F6-EA42-4DB6-0AFF-7343282EFA3D}"/>
                  </a:ext>
                </a:extLst>
              </p:cNvPr>
              <p:cNvSpPr/>
              <p:nvPr/>
            </p:nvSpPr>
            <p:spPr>
              <a:xfrm>
                <a:off x="4182856" y="1802767"/>
                <a:ext cx="3538344" cy="3538344"/>
              </a:xfrm>
              <a:prstGeom prst="pie">
                <a:avLst>
                  <a:gd name="adj1" fmla="val 5409138"/>
                  <a:gd name="adj2" fmla="val 16200000"/>
                </a:avLst>
              </a:prstGeom>
              <a:solidFill>
                <a:srgbClr val="9FD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L" sz="18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Teva Sans" panose="020B0604030202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Partial Circle 23">
                <a:extLst>
                  <a:ext uri="{FF2B5EF4-FFF2-40B4-BE49-F238E27FC236}">
                    <a16:creationId xmlns:a16="http://schemas.microsoft.com/office/drawing/2014/main" id="{49F6108F-8FCD-3CCA-9A54-3AF25BBBDED5}"/>
                  </a:ext>
                </a:extLst>
              </p:cNvPr>
              <p:cNvSpPr/>
              <p:nvPr/>
            </p:nvSpPr>
            <p:spPr>
              <a:xfrm>
                <a:off x="4182856" y="1802767"/>
                <a:ext cx="3538344" cy="3538344"/>
              </a:xfrm>
              <a:prstGeom prst="pie">
                <a:avLst>
                  <a:gd name="adj1" fmla="val 16205847"/>
                  <a:gd name="adj2" fmla="val 15215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L" sz="18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Teva Sans" panose="020B0604030202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Partial Circle 24">
                <a:extLst>
                  <a:ext uri="{FF2B5EF4-FFF2-40B4-BE49-F238E27FC236}">
                    <a16:creationId xmlns:a16="http://schemas.microsoft.com/office/drawing/2014/main" id="{436B9FC2-A633-AA5A-4845-78DB99C2C09B}"/>
                  </a:ext>
                </a:extLst>
              </p:cNvPr>
              <p:cNvSpPr/>
              <p:nvPr/>
            </p:nvSpPr>
            <p:spPr>
              <a:xfrm>
                <a:off x="4182856" y="1802767"/>
                <a:ext cx="3538344" cy="3538344"/>
              </a:xfrm>
              <a:prstGeom prst="pie">
                <a:avLst>
                  <a:gd name="adj1" fmla="val 9991"/>
                  <a:gd name="adj2" fmla="val 5409131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L" sz="1800" b="0" i="0" u="none" strike="noStrike" kern="120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Teva Sans" panose="020B060403020202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88C8F0-52AB-E5B9-0D94-B8A0A58407AB}"/>
                </a:ext>
              </a:extLst>
            </p:cNvPr>
            <p:cNvSpPr txBox="1"/>
            <p:nvPr/>
          </p:nvSpPr>
          <p:spPr>
            <a:xfrm>
              <a:off x="4162858" y="3202505"/>
              <a:ext cx="1546374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va Sans" panose="020B0604030202020203" pitchFamily="34" charset="0"/>
                  <a:ea typeface="+mn-ea"/>
                  <a:cs typeface="+mn-cs"/>
                </a:rPr>
                <a:t>New Scienc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7230559-8953-45CA-E4C0-81E595084130}"/>
                </a:ext>
              </a:extLst>
            </p:cNvPr>
            <p:cNvSpPr txBox="1"/>
            <p:nvPr/>
          </p:nvSpPr>
          <p:spPr>
            <a:xfrm>
              <a:off x="6071409" y="2462944"/>
              <a:ext cx="1357746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va Sans" panose="020B0604030202020203" pitchFamily="34" charset="0"/>
                  <a:ea typeface="+mn-ea"/>
                  <a:cs typeface="+mn-cs"/>
                </a:rPr>
                <a:t>New Talen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532B2F7-E877-C4EC-ABCA-F682254516DC}"/>
                </a:ext>
              </a:extLst>
            </p:cNvPr>
            <p:cNvSpPr txBox="1"/>
            <p:nvPr/>
          </p:nvSpPr>
          <p:spPr>
            <a:xfrm>
              <a:off x="6056051" y="3910391"/>
              <a:ext cx="1546374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va Sans" panose="020B0604030202020203" pitchFamily="34" charset="0"/>
                  <a:ea typeface="+mn-ea"/>
                  <a:cs typeface="+mn-cs"/>
                </a:rPr>
                <a:t>New Technology</a:t>
              </a:r>
            </a:p>
          </p:txBody>
        </p:sp>
      </p:grpSp>
      <p:sp>
        <p:nvSpPr>
          <p:cNvPr id="26" name="Title 2">
            <a:extLst>
              <a:ext uri="{FF2B5EF4-FFF2-40B4-BE49-F238E27FC236}">
                <a16:creationId xmlns:a16="http://schemas.microsoft.com/office/drawing/2014/main" id="{2BFD2553-80D5-1E44-2751-1609853F91CD}"/>
              </a:ext>
            </a:extLst>
          </p:cNvPr>
          <p:cNvSpPr txBox="1">
            <a:spLocks/>
          </p:cNvSpPr>
          <p:nvPr/>
        </p:nvSpPr>
        <p:spPr>
          <a:xfrm>
            <a:off x="342900" y="342900"/>
            <a:ext cx="11506200" cy="1008228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Teva Sans" panose="020B0604030202020203" pitchFamily="34" charset="77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nd leverage The synergy between Teva and the ecosystem</a:t>
            </a:r>
            <a:endParaRPr lang="en-IL" dirty="0">
              <a:solidFill>
                <a:schemeClr val="bg1"/>
              </a:solidFill>
            </a:endParaRPr>
          </a:p>
        </p:txBody>
      </p:sp>
      <p:pic>
        <p:nvPicPr>
          <p:cNvPr id="28" name="Picture 4">
            <a:extLst>
              <a:ext uri="{FF2B5EF4-FFF2-40B4-BE49-F238E27FC236}">
                <a16:creationId xmlns:a16="http://schemas.microsoft.com/office/drawing/2014/main" id="{27978218-9CF5-D4EA-555B-8B4B0C1C2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9787" y="5367038"/>
            <a:ext cx="2688909" cy="819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9405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6">
            <a:extLst>
              <a:ext uri="{FF2B5EF4-FFF2-40B4-BE49-F238E27FC236}">
                <a16:creationId xmlns:a16="http://schemas.microsoft.com/office/drawing/2014/main" id="{ACC44CAF-D825-B914-E2F2-5535E014B007}"/>
              </a:ext>
            </a:extLst>
          </p:cNvPr>
          <p:cNvSpPr/>
          <p:nvPr/>
        </p:nvSpPr>
        <p:spPr>
          <a:xfrm>
            <a:off x="-1614825" y="587289"/>
            <a:ext cx="5120026" cy="1336626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>
            <a:noFill/>
          </a:ln>
          <a:effectLst>
            <a:outerShdw blurRad="48136" dist="38100" dir="2700000" algn="tl" rotWithShape="0">
              <a:schemeClr val="accent2">
                <a:lumMod val="75000"/>
                <a:alpha val="33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r" defTabSz="914400" rtl="1" eaLnBrk="1" latinLnBrk="0" hangingPunct="1"/>
            <a:endParaRPr lang="en-IL">
              <a:latin typeface="Teva Sans" panose="020B0604030202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A7791B-8E27-BCB4-537D-2AC4A4742B00}"/>
              </a:ext>
            </a:extLst>
          </p:cNvPr>
          <p:cNvSpPr/>
          <p:nvPr/>
        </p:nvSpPr>
        <p:spPr>
          <a:xfrm rot="10800000">
            <a:off x="-285748" y="2291878"/>
            <a:ext cx="12477748" cy="2925316"/>
          </a:xfrm>
          <a:prstGeom prst="rect">
            <a:avLst/>
          </a:prstGeom>
          <a:gradFill flip="none" rotWithShape="1">
            <a:gsLst>
              <a:gs pos="11000">
                <a:srgbClr val="06212E"/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IL">
              <a:latin typeface="Teva Sans" panose="020B0604030202020203" pitchFamily="34" charset="0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86067879-1C91-9037-F9F6-966C65AD8354}"/>
              </a:ext>
            </a:extLst>
          </p:cNvPr>
          <p:cNvSpPr txBox="1">
            <a:spLocks/>
          </p:cNvSpPr>
          <p:nvPr/>
        </p:nvSpPr>
        <p:spPr>
          <a:xfrm>
            <a:off x="574158" y="2896350"/>
            <a:ext cx="11373853" cy="3878827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Teva Sans" panose="020B0604030202020203" pitchFamily="34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3600" b="0" dirty="0">
                <a:solidFill>
                  <a:schemeClr val="bg1"/>
                </a:solidFill>
                <a:latin typeface="Teva Sans" panose="020B0604030202020203" pitchFamily="34" charset="0"/>
              </a:rPr>
              <a:t>An open Innovation Initiative, accelerating our Pivot to Growth strategy by </a:t>
            </a:r>
            <a:r>
              <a:rPr lang="en-US" sz="3600" dirty="0">
                <a:solidFill>
                  <a:schemeClr val="bg1"/>
                </a:solidFill>
                <a:latin typeface="Teva Sans" panose="020B0604030202020203" pitchFamily="34" charset="0"/>
              </a:rPr>
              <a:t>connecting Teva’s unmet challenges </a:t>
            </a:r>
            <a:r>
              <a:rPr lang="en-US" sz="3600" b="0" dirty="0">
                <a:solidFill>
                  <a:schemeClr val="bg1"/>
                </a:solidFill>
                <a:latin typeface="Teva Sans" panose="020B0604030202020203" pitchFamily="34" charset="0"/>
              </a:rPr>
              <a:t>with </a:t>
            </a:r>
            <a:r>
              <a:rPr lang="en-US" sz="3600" dirty="0">
                <a:solidFill>
                  <a:schemeClr val="bg1"/>
                </a:solidFill>
                <a:latin typeface="Teva Sans" panose="020B0604030202020203" pitchFamily="34" charset="0"/>
              </a:rPr>
              <a:t>disruptive tech solutions </a:t>
            </a:r>
            <a:r>
              <a:rPr lang="en-US" sz="3600" b="0" dirty="0">
                <a:solidFill>
                  <a:schemeClr val="bg1"/>
                </a:solidFill>
                <a:latin typeface="Teva Sans" panose="020B0604030202020203" pitchFamily="34" charset="0"/>
              </a:rPr>
              <a:t>at global scale</a:t>
            </a:r>
            <a:br>
              <a:rPr lang="he-IL" sz="3600" b="0" dirty="0">
                <a:solidFill>
                  <a:schemeClr val="bg1"/>
                </a:solidFill>
                <a:latin typeface="Teva Sans" panose="020B0604030202020203" pitchFamily="34" charset="0"/>
              </a:rPr>
            </a:br>
            <a:r>
              <a:rPr lang="en-US" sz="3600" b="0" dirty="0">
                <a:solidFill>
                  <a:schemeClr val="bg1"/>
                </a:solidFill>
                <a:latin typeface="Teva Sans" panose="020B0604030202020203" pitchFamily="34" charset="0"/>
              </a:rPr>
              <a:t> </a:t>
            </a:r>
            <a:endParaRPr lang="he-IL" sz="3600" b="0" dirty="0">
              <a:solidFill>
                <a:schemeClr val="bg1"/>
              </a:solidFill>
              <a:latin typeface="Teva Sans" panose="020B0604030202020203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5357684-46FA-DBFD-CC54-47CE3941C8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6811" y="955252"/>
            <a:ext cx="2506369" cy="6007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AD1790-B8BC-0352-17D6-98DBFD5AE7C0}"/>
              </a:ext>
            </a:extLst>
          </p:cNvPr>
          <p:cNvSpPr txBox="1">
            <a:spLocks/>
          </p:cNvSpPr>
          <p:nvPr/>
        </p:nvSpPr>
        <p:spPr>
          <a:xfrm>
            <a:off x="1374258" y="6202457"/>
            <a:ext cx="5318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2832ACA-4727-4D4C-ACEE-24DD06899962}" type="slidenum">
              <a:rPr lang="en-US" sz="1200" smtClean="0">
                <a:solidFill>
                  <a:schemeClr val="bg1"/>
                </a:solidFill>
              </a:rPr>
              <a:pPr/>
              <a:t>3</a:t>
            </a:fld>
            <a:r>
              <a:rPr lang="en-US" sz="1200">
                <a:solidFill>
                  <a:schemeClr val="bg1"/>
                </a:solidFill>
              </a:rPr>
              <a:t> |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68CA044-80F0-6148-B7DD-38902B176BCA}"/>
              </a:ext>
            </a:extLst>
          </p:cNvPr>
          <p:cNvGrpSpPr/>
          <p:nvPr/>
        </p:nvGrpSpPr>
        <p:grpSpPr>
          <a:xfrm>
            <a:off x="-9230" y="6110869"/>
            <a:ext cx="1274461" cy="508796"/>
            <a:chOff x="-20381" y="6201607"/>
            <a:chExt cx="1047173" cy="418057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D26F198A-4841-476E-B3A7-04C0D8BB75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-20381" y="6201607"/>
              <a:ext cx="1047173" cy="418057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1C02ABF0-33DE-2329-FDB4-248AA280B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36242" y="6322685"/>
              <a:ext cx="733925" cy="175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2720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6">
            <a:extLst>
              <a:ext uri="{FF2B5EF4-FFF2-40B4-BE49-F238E27FC236}">
                <a16:creationId xmlns:a16="http://schemas.microsoft.com/office/drawing/2014/main" id="{A1645DDD-9A49-BD18-93A8-AFA660885ABA}"/>
              </a:ext>
            </a:extLst>
          </p:cNvPr>
          <p:cNvSpPr txBox="1">
            <a:spLocks/>
          </p:cNvSpPr>
          <p:nvPr/>
        </p:nvSpPr>
        <p:spPr>
          <a:xfrm>
            <a:off x="5372520" y="434882"/>
            <a:ext cx="6387425" cy="6043226"/>
          </a:xfrm>
          <a:prstGeom prst="rect">
            <a:avLst/>
          </a:prstGeom>
          <a:solidFill>
            <a:srgbClr val="FFFFFF">
              <a:alpha val="38039"/>
            </a:srgbClr>
          </a:solidFill>
          <a:effectLst/>
        </p:spPr>
        <p:txBody>
          <a:bodyPr lIns="144000" tIns="108000" rIns="108000" bIns="14400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3B"/>
              </a:buClr>
              <a:buSzTx/>
              <a:buFont typeface="Arial" panose="020B0604020202020204" pitchFamily="34" charset="0"/>
              <a:buNone/>
              <a:tabLst/>
              <a:defRPr kumimoji="0" sz="1100" b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Teva Sans Light" panose="020B0604030202020203" pitchFamily="34" charset="77"/>
                <a:cs typeface="Afek DL v2 AAA DemiBold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/>
            </a:lvl2pPr>
            <a:lvl3pPr mar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Phoenix Sans" panose="02000504040101040103" pitchFamily="50" charset="0"/>
              <a:buNone/>
              <a:defRPr sz="2200" b="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Phoenix Sans" panose="02000504040101040103" pitchFamily="50" charset="0"/>
              <a:buNone/>
              <a:defRPr sz="2200" b="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Phoenix Sans" panose="02000504040101040103" pitchFamily="50" charset="0"/>
              <a:buNone/>
              <a:defRPr sz="2200" b="0">
                <a:solidFill>
                  <a:schemeClr val="tx2"/>
                </a:solidFill>
              </a:defRPr>
            </a:lvl5pPr>
            <a:lvl6pPr marL="2514600" indent="-228600" algn="r" rtl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algn="r" rtl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algn="r" rtl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algn="r" rtl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Aft>
                <a:spcPts val="300"/>
              </a:spcAft>
            </a:pPr>
            <a:endParaRPr lang="en-US" dirty="0">
              <a:solidFill>
                <a:schemeClr val="accent6"/>
              </a:solidFill>
              <a:latin typeface="Teva Sans" panose="020B0604030202020203" pitchFamily="34" charset="0"/>
            </a:endParaRPr>
          </a:p>
        </p:txBody>
      </p:sp>
      <p:pic>
        <p:nvPicPr>
          <p:cNvPr id="3" name="Graphic 2" descr="Microscope with solid fill">
            <a:extLst>
              <a:ext uri="{FF2B5EF4-FFF2-40B4-BE49-F238E27FC236}">
                <a16:creationId xmlns:a16="http://schemas.microsoft.com/office/drawing/2014/main" id="{303C91EA-4ADB-BCED-B1B8-AFD9CBA51F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06989" y="2026564"/>
            <a:ext cx="1068981" cy="106898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48094C-EAC7-35EB-D244-B019DCFFE0DC}"/>
              </a:ext>
            </a:extLst>
          </p:cNvPr>
          <p:cNvSpPr/>
          <p:nvPr/>
        </p:nvSpPr>
        <p:spPr>
          <a:xfrm>
            <a:off x="6995219" y="1988456"/>
            <a:ext cx="4203361" cy="992766"/>
          </a:xfrm>
          <a:prstGeom prst="rect">
            <a:avLst/>
          </a:prstGeom>
          <a:solidFill>
            <a:srgbClr val="002C4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  <a:t>Accelerating drug development</a:t>
            </a:r>
          </a:p>
        </p:txBody>
      </p:sp>
      <p:pic>
        <p:nvPicPr>
          <p:cNvPr id="5" name="Graphic 4" descr="Hierarchy outline">
            <a:extLst>
              <a:ext uri="{FF2B5EF4-FFF2-40B4-BE49-F238E27FC236}">
                <a16:creationId xmlns:a16="http://schemas.microsoft.com/office/drawing/2014/main" id="{2D5F3A11-94E1-5645-F7AF-79DFDF705A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05693" y="3441873"/>
            <a:ext cx="1068981" cy="106898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9CBA3D8-9A3B-143F-7154-10CB896DE462}"/>
              </a:ext>
            </a:extLst>
          </p:cNvPr>
          <p:cNvSpPr/>
          <p:nvPr/>
        </p:nvSpPr>
        <p:spPr>
          <a:xfrm>
            <a:off x="6993924" y="3441873"/>
            <a:ext cx="4203361" cy="992766"/>
          </a:xfrm>
          <a:prstGeom prst="rect">
            <a:avLst/>
          </a:prstGeom>
          <a:solidFill>
            <a:srgbClr val="002C4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  <a:t>Operational</a:t>
            </a:r>
            <a:b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  <a:t>efficiencies &amp; S.C</a:t>
            </a:r>
          </a:p>
        </p:txBody>
      </p:sp>
      <p:pic>
        <p:nvPicPr>
          <p:cNvPr id="7" name="Graphic 6" descr="Hurdle outline">
            <a:extLst>
              <a:ext uri="{FF2B5EF4-FFF2-40B4-BE49-F238E27FC236}">
                <a16:creationId xmlns:a16="http://schemas.microsoft.com/office/drawing/2014/main" id="{F84DE79C-670F-1D38-A661-846EF6AB96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0786" y="4857181"/>
            <a:ext cx="1068981" cy="106898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2E00F6F-0907-AF45-3745-90462CDE3B42}"/>
              </a:ext>
            </a:extLst>
          </p:cNvPr>
          <p:cNvSpPr/>
          <p:nvPr/>
        </p:nvSpPr>
        <p:spPr>
          <a:xfrm>
            <a:off x="6993924" y="4857181"/>
            <a:ext cx="4203361" cy="992766"/>
          </a:xfrm>
          <a:prstGeom prst="rect">
            <a:avLst/>
          </a:prstGeom>
          <a:solidFill>
            <a:srgbClr val="002C4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  <a:t>Commercial</a:t>
            </a:r>
            <a:b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Teva Sans" panose="020B0604030202020203" pitchFamily="34" charset="0"/>
              </a:rPr>
              <a:t>growth and efficiencie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4E7A81-9CC2-207C-9456-C3F27AFB6778}"/>
              </a:ext>
            </a:extLst>
          </p:cNvPr>
          <p:cNvSpPr txBox="1"/>
          <p:nvPr/>
        </p:nvSpPr>
        <p:spPr>
          <a:xfrm>
            <a:off x="6930314" y="886639"/>
            <a:ext cx="4203361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Teva Sans" panose="020B0604030202020203" pitchFamily="34" charset="0"/>
              </a:rPr>
              <a:t>Our goals for disruptive tech implementation:</a:t>
            </a:r>
            <a:endParaRPr lang="he-IL" sz="2400" b="1" dirty="0">
              <a:solidFill>
                <a:schemeClr val="bg1"/>
              </a:solidFill>
              <a:latin typeface="Teva Sans" panose="020B0604030202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3E33B-1628-BD89-BDA7-E71A36299805}"/>
              </a:ext>
            </a:extLst>
          </p:cNvPr>
          <p:cNvCxnSpPr>
            <a:cxnSpLocks/>
          </p:cNvCxnSpPr>
          <p:nvPr/>
        </p:nvCxnSpPr>
        <p:spPr>
          <a:xfrm>
            <a:off x="6993924" y="1796239"/>
            <a:ext cx="4212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02397B0-06F3-F484-68BC-2E2606F87EEB}"/>
              </a:ext>
            </a:extLst>
          </p:cNvPr>
          <p:cNvSpPr txBox="1">
            <a:spLocks/>
          </p:cNvSpPr>
          <p:nvPr/>
        </p:nvSpPr>
        <p:spPr>
          <a:xfrm>
            <a:off x="459438" y="2161136"/>
            <a:ext cx="4350422" cy="1495794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2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4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Teva Sans" panose="020B0604030202020203" pitchFamily="34" charset="0"/>
                <a:sym typeface="Trebuchet MS" panose="020B0603020202020204" pitchFamily="34" charset="0"/>
              </a:rPr>
            </a:br>
            <a:br>
              <a:rPr kumimoji="0" lang="en-US" sz="4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Teva Sans" panose="020B0604030202020203" pitchFamily="34" charset="0"/>
                <a:sym typeface="Trebuchet MS" panose="020B0603020202020204" pitchFamily="34" charset="0"/>
              </a:rPr>
            </a:br>
            <a:r>
              <a:rPr kumimoji="0" lang="en-US" sz="4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Teva Sans" panose="020B0604030202020203" pitchFamily="34" charset="0"/>
                <a:sym typeface="Trebuchet MS" panose="020B0603020202020204" pitchFamily="34" charset="0"/>
              </a:rPr>
              <a:t>We focus on the 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Teva Sans" panose="020B0604030202020203" pitchFamily="34" charset="0"/>
                <a:sym typeface="Trebuchet MS" panose="020B0603020202020204" pitchFamily="34" charset="0"/>
              </a:rPr>
              <a:t>entire value chain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Teva Sans" panose="020B0604030202020203" pitchFamily="34" charset="0"/>
                <a:sym typeface="Trebuchet MS" panose="020B0603020202020204" pitchFamily="34" charset="0"/>
              </a:rPr>
              <a:t>to create a 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Teva Sans" panose="020B0604030202020203" pitchFamily="34" charset="0"/>
                <a:sym typeface="Trebuchet MS" panose="020B0603020202020204" pitchFamily="34" charset="0"/>
              </a:rPr>
              <a:t>systemic impact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C1FE8887-73F1-8745-373F-C6BF2B280DB4}"/>
              </a:ext>
            </a:extLst>
          </p:cNvPr>
          <p:cNvSpPr txBox="1">
            <a:spLocks/>
          </p:cNvSpPr>
          <p:nvPr/>
        </p:nvSpPr>
        <p:spPr>
          <a:xfrm>
            <a:off x="1374258" y="6202457"/>
            <a:ext cx="5318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2832ACA-4727-4D4C-ACEE-24DD06899962}" type="slidenum">
              <a:rPr lang="en-US" sz="1200" smtClean="0">
                <a:solidFill>
                  <a:schemeClr val="bg1"/>
                </a:solidFill>
              </a:rPr>
              <a:pPr/>
              <a:t>4</a:t>
            </a:fld>
            <a:r>
              <a:rPr lang="en-US" sz="1200">
                <a:solidFill>
                  <a:schemeClr val="bg1"/>
                </a:solidFill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148073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een globe with lines and dots&#10;&#10;AI-generated content may be incorrect.">
            <a:extLst>
              <a:ext uri="{FF2B5EF4-FFF2-40B4-BE49-F238E27FC236}">
                <a16:creationId xmlns:a16="http://schemas.microsoft.com/office/drawing/2014/main" id="{058F3571-F9D9-92E5-C3C3-E5C2E9595A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9491215-62E1-4D8D-86D1-077DFE0643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491215-62E1-4D8D-86D1-077DFE064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38B85D1-9AF0-98FD-7E08-89B2A60E46A2}"/>
              </a:ext>
            </a:extLst>
          </p:cNvPr>
          <p:cNvSpPr/>
          <p:nvPr/>
        </p:nvSpPr>
        <p:spPr>
          <a:xfrm>
            <a:off x="-955299" y="1109271"/>
            <a:ext cx="5887063" cy="198030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e-IL" sz="3200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Teva Sans"/>
              <a:ea typeface="+mn-ea"/>
              <a:cs typeface="+mn-cs"/>
            </a:endParaRPr>
          </a:p>
        </p:txBody>
      </p:sp>
      <p:pic>
        <p:nvPicPr>
          <p:cNvPr id="6" name="Picture 5" descr="A black background with blue and green text&#10;&#10;AI-generated content may be incorrect.">
            <a:extLst>
              <a:ext uri="{FF2B5EF4-FFF2-40B4-BE49-F238E27FC236}">
                <a16:creationId xmlns:a16="http://schemas.microsoft.com/office/drawing/2014/main" id="{2E7528FC-8C83-33B6-9510-0AEFB458D24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525" y="1521838"/>
            <a:ext cx="3692709" cy="1155170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66D9C6F-63BD-9A49-786E-F879D6C444AE}"/>
              </a:ext>
            </a:extLst>
          </p:cNvPr>
          <p:cNvSpPr txBox="1">
            <a:spLocks/>
          </p:cNvSpPr>
          <p:nvPr/>
        </p:nvSpPr>
        <p:spPr>
          <a:xfrm>
            <a:off x="-3171664" y="3627551"/>
            <a:ext cx="12290854" cy="3034466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42424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42424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42424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0A03B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0A03B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A03B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42424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A03B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42424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0A03B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42424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A03B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0A03B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A03B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0A03B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rPr>
              <a:t>The Future starts here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A03B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va Sans"/>
                <a:ea typeface="+mn-ea"/>
                <a:cs typeface="+mn-cs"/>
                <a:sym typeface="Trebuchet MS" panose="020B0603020202020204" pitchFamily="34" charset="0"/>
              </a:rPr>
              <a:t>Rise with us!</a:t>
            </a:r>
          </a:p>
        </p:txBody>
      </p:sp>
    </p:spTree>
    <p:extLst>
      <p:ext uri="{BB962C8B-B14F-4D97-AF65-F5344CB8AC3E}">
        <p14:creationId xmlns:p14="http://schemas.microsoft.com/office/powerpoint/2010/main" val="115244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MASTERWIZARD_MARGINS" val="0"/>
  <p:tag name="EE4P_STYLE_ID" val="rg9odrYS"/>
  <p:tag name="EE4P_STYLE_NAME" val="Teva 2309"/>
  <p:tag name="THINKCELLPRESENTATIONDONOTDELETE" val="&lt;?xml version=&quot;1.0&quot; encoding=&quot;UTF-16&quot; standalone=&quot;yes&quot;?&gt;&lt;root reqver=&quot;28224&quot;&gt;&lt;version val=&quot;353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A4&quot; g=&quot;D0&quot; b=&quot;86&quot;/&gt;&lt;/elem&gt;&lt;/m_vecMRU&gt;&lt;/m_mruColor&gt;&lt;m_eweekdayFirstOfWeek val=&quot;1&quot;/&gt;&lt;m_eweekdayFirstOfWorkweek val=&quot;2&quot;/&gt;&lt;m_eweekdayFirstOfWeekend val=&quot;7&quot;/&gt;&lt;/CPresentation&gt;&lt;/root&gt;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eva San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eva San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4&quot; hideSeparatingSlides=&quot;0&quot; createSections=&quot;0&quot; singleSlideId=&quot;052f7e37-6148-4943-aa55-3a42104a277e&quot; backupSlideId=&quot;d7bb3d7d-5fd7-4633-9e26-1c5893147a80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267.5656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f05279b8-db0a-40ed-85b5-62b2b625e067&quot; parentId=&quot;&quot; level=&quot;1&quot; generateAgendaSlide=&quot;1&quot; showAgendaItem=&quot;1&quot; isBreak=&quot;0&quot; topic=&quot;Vision and ambition&quot; agendaSlideId=&quot;b4389c2d-062b-4bfd-ad8d-682435fa39bd&quot; /&gt;&lt;item duration=&quot;30&quot; id=&quot;09ed6fb7-de24-455a-85a0-c7f89cd4fa4c&quot; parentId=&quot;&quot; level=&quot;1&quot; generateAgendaSlide=&quot;1&quot; showAgendaItem=&quot;1&quot; isBreak=&quot;0&quot; topic=&quot;Israeli HealthTec market&quot; agendaSlideId=&quot;9f4c567d-347a-4db3-a2e8-d8b8aa98e32a&quot; /&gt;&lt;item duration=&quot;30&quot; id=&quot;d3f691d1-3af0-4f90-8e03-c8393a91e355&quot; parentId=&quot;&quot; level=&quot;1&quot; generateAgendaSlide=&quot;1&quot; showAgendaItem=&quot;1&quot; isBreak=&quot;0&quot; topic=&quot;Benchmark&quot; agendaSlideId=&quot;d1406541-a826-4df7-a0e2-9ae9fbc9a128&quot; /&gt;&lt;item duration=&quot;30&quot; id=&quot;090eb74e-5b26-4102-a981-489620db4892&quot; parentId=&quot;&quot; level=&quot;1&quot; generateAgendaSlide=&quot;1&quot; showAgendaItem=&quot;1&quot; isBreak=&quot;0&quot; topic=&quot;Venturing strategy &quot; agendaSlideId=&quot;7d73ee7d-aee4-4790-afb0-76bca43eea17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Teva Sans Light X Teva Sans">
      <a:majorFont>
        <a:latin typeface="Teva Sans Light"/>
        <a:ea typeface=""/>
        <a:cs typeface=""/>
      </a:majorFont>
      <a:minorFont>
        <a:latin typeface="Teva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0.xml><?xml version="1.0" encoding="utf-8"?>
<a:theme xmlns:a="http://schemas.openxmlformats.org/drawingml/2006/main" name="8_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Teva Sans Light X Teva Sans">
      <a:majorFont>
        <a:latin typeface="Teva Sans Light"/>
        <a:ea typeface=""/>
        <a:cs typeface=""/>
      </a:majorFont>
      <a:minorFont>
        <a:latin typeface="Teva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Teva Sans Light X Teva Sans">
      <a:majorFont>
        <a:latin typeface="Teva Sans Light"/>
        <a:ea typeface=""/>
        <a:cs typeface=""/>
      </a:majorFont>
      <a:minorFont>
        <a:latin typeface="Teva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A03B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2_Teva 2309 - 25571">
  <a:themeElements>
    <a:clrScheme name="Custom 1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AFCB37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Teva Sans Light X Teva Sans">
      <a:majorFont>
        <a:latin typeface="Teva Sans Light"/>
        <a:ea typeface=""/>
        <a:cs typeface=""/>
      </a:majorFont>
      <a:minorFont>
        <a:latin typeface="Teva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A03B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3_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Teva Sans Light X Teva Sans">
      <a:majorFont>
        <a:latin typeface="Teva Sans Light"/>
        <a:ea typeface=""/>
        <a:cs typeface=""/>
      </a:majorFont>
      <a:minorFont>
        <a:latin typeface="Teva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4_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Teva Sans Light X Teva Sans">
      <a:majorFont>
        <a:latin typeface="Teva Sans Light"/>
        <a:ea typeface=""/>
        <a:cs typeface=""/>
      </a:majorFont>
      <a:minorFont>
        <a:latin typeface="Teva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5_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Custom 1">
      <a:majorFont>
        <a:latin typeface="Teva Sans Light"/>
        <a:ea typeface=""/>
        <a:cs typeface="Segoe UI Semibold"/>
      </a:majorFont>
      <a:minorFont>
        <a:latin typeface="Teva Sans"/>
        <a:ea typeface=""/>
        <a:cs typeface="Segoe UI Semilight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6_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Teva Sans Light X Teva Sans">
      <a:majorFont>
        <a:latin typeface="Teva Sans Light"/>
        <a:ea typeface=""/>
        <a:cs typeface=""/>
      </a:majorFont>
      <a:minorFont>
        <a:latin typeface="Teva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1_Office Theme">
  <a:themeElements>
    <a:clrScheme name="teva2">
      <a:dk1>
        <a:srgbClr val="000000"/>
      </a:dk1>
      <a:lt1>
        <a:srgbClr val="FFFFFF"/>
      </a:lt1>
      <a:dk2>
        <a:srgbClr val="00355B"/>
      </a:dk2>
      <a:lt2>
        <a:srgbClr val="F2F2F2"/>
      </a:lt2>
      <a:accent1>
        <a:srgbClr val="308EB0"/>
      </a:accent1>
      <a:accent2>
        <a:srgbClr val="00AD4B"/>
      </a:accent2>
      <a:accent3>
        <a:srgbClr val="B780CF"/>
      </a:accent3>
      <a:accent4>
        <a:srgbClr val="00AD4B"/>
      </a:accent4>
      <a:accent5>
        <a:srgbClr val="A8D377"/>
      </a:accent5>
      <a:accent6>
        <a:srgbClr val="004556"/>
      </a:accent6>
      <a:hlink>
        <a:srgbClr val="B780CF"/>
      </a:hlink>
      <a:folHlink>
        <a:srgbClr val="F04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7_Teva 2309 - 25571">
  <a:themeElements>
    <a:clrScheme name="aaa">
      <a:dk1>
        <a:srgbClr val="424242"/>
      </a:dk1>
      <a:lt1>
        <a:srgbClr val="FFFFFF"/>
      </a:lt1>
      <a:dk2>
        <a:srgbClr val="00A03B"/>
      </a:dk2>
      <a:lt2>
        <a:srgbClr val="F2F2F2"/>
      </a:lt2>
      <a:accent1>
        <a:srgbClr val="004619"/>
      </a:accent1>
      <a:accent2>
        <a:srgbClr val="006424"/>
      </a:accent2>
      <a:accent3>
        <a:srgbClr val="FFC000"/>
      </a:accent3>
      <a:accent4>
        <a:srgbClr val="80FFAD"/>
      </a:accent4>
      <a:accent5>
        <a:srgbClr val="948D90"/>
      </a:accent5>
      <a:accent6>
        <a:srgbClr val="00567A"/>
      </a:accent6>
      <a:hlink>
        <a:srgbClr val="00ACA8"/>
      </a:hlink>
      <a:folHlink>
        <a:srgbClr val="AFCB37"/>
      </a:folHlink>
    </a:clrScheme>
    <a:fontScheme name="Custom 1">
      <a:majorFont>
        <a:latin typeface="Teva Sans Light"/>
        <a:ea typeface=""/>
        <a:cs typeface="Segoe UI Semibold"/>
      </a:majorFont>
      <a:minorFont>
        <a:latin typeface="Teva Sans"/>
        <a:ea typeface=""/>
        <a:cs typeface="Segoe UI Semilight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 w="9525" cap="rnd" cmpd="sng" algn="ctr">
          <a:solidFill>
            <a:srgbClr val="00A03B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42424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Override1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0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1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2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3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4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5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6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7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8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19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0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1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2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3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4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5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6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7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8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29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0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1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2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3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4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5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6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7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8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39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0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1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2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3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4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5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6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7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8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49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0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1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2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3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4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5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6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7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8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59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0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1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2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3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4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5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6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7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8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69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7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8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theme/themeOverride9.xml><?xml version="1.0" encoding="utf-8"?>
<a:themeOverride xmlns:a="http://schemas.openxmlformats.org/drawingml/2006/main">
  <a:clrScheme name="aaa">
    <a:dk1>
      <a:srgbClr val="424242"/>
    </a:dk1>
    <a:lt1>
      <a:srgbClr val="FFFFFF"/>
    </a:lt1>
    <a:dk2>
      <a:srgbClr val="00A03B"/>
    </a:dk2>
    <a:lt2>
      <a:srgbClr val="F2F2F2"/>
    </a:lt2>
    <a:accent1>
      <a:srgbClr val="004619"/>
    </a:accent1>
    <a:accent2>
      <a:srgbClr val="006424"/>
    </a:accent2>
    <a:accent3>
      <a:srgbClr val="FFC000"/>
    </a:accent3>
    <a:accent4>
      <a:srgbClr val="80FFAD"/>
    </a:accent4>
    <a:accent5>
      <a:srgbClr val="948D90"/>
    </a:accent5>
    <a:accent6>
      <a:srgbClr val="00567A"/>
    </a:accent6>
    <a:hlink>
      <a:srgbClr val="00ACA8"/>
    </a:hlink>
    <a:folHlink>
      <a:srgbClr val="AFCB37"/>
    </a:folHlink>
  </a:clr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8FB6B41-AF38-4D7D-9149-5AF63CAF008E}">
  <we:reference id="1e02f4c4-fc90-4da1-8ab3-b26c44d971ec" version="2.2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DcR_SlideID>846fe212-d181-45a4-ad99-fbdfa8a28820</DcR_SlideID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C9D320F0B0594A89A88F0741EB80BC" ma:contentTypeVersion="4" ma:contentTypeDescription="Create a new document." ma:contentTypeScope="" ma:versionID="5d46f14ba65c9d488cf8aed4670d4185">
  <xsd:schema xmlns:xsd="http://www.w3.org/2001/XMLSchema" xmlns:xs="http://www.w3.org/2001/XMLSchema" xmlns:p="http://schemas.microsoft.com/office/2006/metadata/properties" xmlns:ns2="dc4c91bc-2ee9-4a00-afc6-b221524183cc" targetNamespace="http://schemas.microsoft.com/office/2006/metadata/properties" ma:root="true" ma:fieldsID="f7fde4bd2b30b1a090c33d1db22395fe" ns2:_="">
    <xsd:import namespace="dc4c91bc-2ee9-4a00-afc6-b221524183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4c91bc-2ee9-4a00-afc6-b221524183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367F3F-89A3-40F9-BEF6-A6E6EBF005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42802FA-E758-4847-86BA-33DBFA8B799E}">
  <ds:schemaRefs>
    <ds:schemaRef ds:uri="http://purl.org/dc/elements/1.1/"/>
    <ds:schemaRef ds:uri="http://schemas.openxmlformats.org/package/2006/metadata/core-properties"/>
    <ds:schemaRef ds:uri="dc4c91bc-2ee9-4a00-afc6-b221524183cc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42811C3-0EB9-48F7-92FE-5939F80B0FEC}">
  <ds:schemaRefs/>
</ds:datastoreItem>
</file>

<file path=customXml/itemProps4.xml><?xml version="1.0" encoding="utf-8"?>
<ds:datastoreItem xmlns:ds="http://schemas.openxmlformats.org/officeDocument/2006/customXml" ds:itemID="{A72F92AB-8817-4628-B6A4-B74FF4BE6BCA}">
  <ds:schemaRefs>
    <ds:schemaRef ds:uri="dc4c91bc-2ee9-4a00-afc6-b221524183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d026e4c1-5892-497a-b9da-ee493c9f0364}" enabled="0" method="" siteId="{d026e4c1-5892-497a-b9da-ee493c9f036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99</TotalTime>
  <Words>143</Words>
  <Application>Microsoft Office PowerPoint</Application>
  <PresentationFormat>Widescreen</PresentationFormat>
  <Paragraphs>24</Paragraphs>
  <Slides>6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22" baseType="lpstr">
      <vt:lpstr>Arial</vt:lpstr>
      <vt:lpstr>Calibri</vt:lpstr>
      <vt:lpstr>Teva Sans</vt:lpstr>
      <vt:lpstr>Teva Sans Light</vt:lpstr>
      <vt:lpstr>Teva 2309 - 25571</vt:lpstr>
      <vt:lpstr>1_Teva 2309 - 25571</vt:lpstr>
      <vt:lpstr>2_Teva 2309 - 25571</vt:lpstr>
      <vt:lpstr>3_Teva 2309 - 25571</vt:lpstr>
      <vt:lpstr>4_Teva 2309 - 25571</vt:lpstr>
      <vt:lpstr>5_Teva 2309 - 25571</vt:lpstr>
      <vt:lpstr>6_Teva 2309 - 25571</vt:lpstr>
      <vt:lpstr>1_Office Theme</vt:lpstr>
      <vt:lpstr>7_Teva 2309 - 25571</vt:lpstr>
      <vt:lpstr>8_Teva 2309 - 2557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Yossi Ofek</cp:lastModifiedBy>
  <cp:revision>43</cp:revision>
  <cp:lastPrinted>1999-12-31T22:00:00Z</cp:lastPrinted>
  <dcterms:created xsi:type="dcterms:W3CDTF">2024-06-10T09:02:22Z</dcterms:created>
  <dcterms:modified xsi:type="dcterms:W3CDTF">2025-12-22T06:4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4-06-10T14:21:22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d3eab38b-a7bb-4c02-a1f1-aad8e2a7068b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ContentTypeId">
    <vt:lpwstr>0x01010002C9D320F0B0594A89A88F0741EB80BC</vt:lpwstr>
  </property>
  <property fmtid="{D5CDD505-2E9C-101B-9397-08002B2CF9AE}" pid="15" name="MediaServiceImageTags">
    <vt:lpwstr/>
  </property>
</Properties>
</file>